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notesSlides/notesSlide5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6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tags/tag91.xml" ContentType="application/vnd.openxmlformats-officedocument.presentationml.tags+xml"/>
  <Override PartName="/ppt/notesSlides/notesSlide9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tags/tag172.xml" ContentType="application/vnd.openxmlformats-officedocument.presentationml.tags+xml"/>
  <Override PartName="/ppt/notesSlides/notesSlide13.xml" ContentType="application/vnd.openxmlformats-officedocument.presentationml.notesSlide+xml"/>
  <Override PartName="/ppt/tags/tag173.xml" ContentType="application/vnd.openxmlformats-officedocument.presentationml.tags+xml"/>
  <Override PartName="/ppt/notesSlides/notesSlide14.xml" ContentType="application/vnd.openxmlformats-officedocument.presentationml.notesSlide+xml"/>
  <Override PartName="/ppt/tags/tag174.xml" ContentType="application/vnd.openxmlformats-officedocument.presentationml.tags+xml"/>
  <Override PartName="/ppt/notesSlides/notesSlide15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16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7.xml" ContentType="application/vnd.openxmlformats-officedocument.presentationml.notesSlide+xml"/>
  <Override PartName="/ppt/tags/tag179.xml" ContentType="application/vnd.openxmlformats-officedocument.presentationml.tags+xml"/>
  <Override PartName="/ppt/notesSlides/notesSlide18.xml" ContentType="application/vnd.openxmlformats-officedocument.presentationml.notesSlide+xml"/>
  <Override PartName="/ppt/tags/tag180.xml" ContentType="application/vnd.openxmlformats-officedocument.presentationml.tags+xml"/>
  <Override PartName="/ppt/notesSlides/notesSlide19.xml" ContentType="application/vnd.openxmlformats-officedocument.presentationml.notesSlide+xml"/>
  <Override PartName="/ppt/tags/tag181.xml" ContentType="application/vnd.openxmlformats-officedocument.presentationml.tags+xml"/>
  <Override PartName="/ppt/notesSlides/notesSlide20.xml" ContentType="application/vnd.openxmlformats-officedocument.presentationml.notesSlide+xml"/>
  <Override PartName="/ppt/tags/tag182.xml" ContentType="application/vnd.openxmlformats-officedocument.presentationml.tags+xml"/>
  <Override PartName="/ppt/notesSlides/notesSlide21.xml" ContentType="application/vnd.openxmlformats-officedocument.presentationml.notesSlide+xml"/>
  <Override PartName="/ppt/tags/tag183.xml" ContentType="application/vnd.openxmlformats-officedocument.presentationml.tags+xml"/>
  <Override PartName="/ppt/notesSlides/notesSlide2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23.xml" ContentType="application/vnd.openxmlformats-officedocument.presentationml.notesSlide+xml"/>
  <Override PartName="/ppt/tags/tag186.xml" ContentType="application/vnd.openxmlformats-officedocument.presentationml.tags+xml"/>
  <Override PartName="/ppt/notesSlides/notesSlide24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25.xml" ContentType="application/vnd.openxmlformats-officedocument.presentationml.notesSlide+xml"/>
  <Override PartName="/ppt/tags/tag189.xml" ContentType="application/vnd.openxmlformats-officedocument.presentationml.tags+xml"/>
  <Override PartName="/ppt/notesSlides/notesSlide26.xml" ContentType="application/vnd.openxmlformats-officedocument.presentationml.notesSlide+xml"/>
  <Override PartName="/ppt/tags/tag190.xml" ContentType="application/vnd.openxmlformats-officedocument.presentationml.tags+xml"/>
  <Override PartName="/ppt/notesSlides/notesSlide27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2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  <p:sldMasterId id="2147483702" r:id="rId6"/>
  </p:sldMasterIdLst>
  <p:notesMasterIdLst>
    <p:notesMasterId r:id="rId44"/>
  </p:notesMasterIdLst>
  <p:handoutMasterIdLst>
    <p:handoutMasterId r:id="rId45"/>
  </p:handoutMasterIdLst>
  <p:sldIdLst>
    <p:sldId id="271" r:id="rId7"/>
    <p:sldId id="284" r:id="rId8"/>
    <p:sldId id="329" r:id="rId9"/>
    <p:sldId id="286" r:id="rId10"/>
    <p:sldId id="330" r:id="rId11"/>
    <p:sldId id="299" r:id="rId12"/>
    <p:sldId id="332" r:id="rId13"/>
    <p:sldId id="256" r:id="rId14"/>
    <p:sldId id="257" r:id="rId15"/>
    <p:sldId id="260" r:id="rId16"/>
    <p:sldId id="345" r:id="rId17"/>
    <p:sldId id="261" r:id="rId18"/>
    <p:sldId id="318" r:id="rId19"/>
    <p:sldId id="333" r:id="rId20"/>
    <p:sldId id="335" r:id="rId21"/>
    <p:sldId id="334" r:id="rId22"/>
    <p:sldId id="336" r:id="rId23"/>
    <p:sldId id="313" r:id="rId24"/>
    <p:sldId id="314" r:id="rId25"/>
    <p:sldId id="337" r:id="rId26"/>
    <p:sldId id="339" r:id="rId27"/>
    <p:sldId id="338" r:id="rId28"/>
    <p:sldId id="292" r:id="rId29"/>
    <p:sldId id="346" r:id="rId30"/>
    <p:sldId id="310" r:id="rId31"/>
    <p:sldId id="340" r:id="rId32"/>
    <p:sldId id="322" r:id="rId33"/>
    <p:sldId id="341" r:id="rId34"/>
    <p:sldId id="323" r:id="rId35"/>
    <p:sldId id="342" r:id="rId36"/>
    <p:sldId id="293" r:id="rId37"/>
    <p:sldId id="343" r:id="rId38"/>
    <p:sldId id="294" r:id="rId39"/>
    <p:sldId id="331" r:id="rId40"/>
    <p:sldId id="344" r:id="rId41"/>
    <p:sldId id="315" r:id="rId42"/>
    <p:sldId id="296" r:id="rId43"/>
  </p:sldIdLst>
  <p:sldSz cx="12192000" cy="6858000"/>
  <p:notesSz cx="6797675" cy="9928225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</p14:sldIdLst>
        </p14:section>
        <p14:section name="Content / agenda slide" id="{B2D49DD4-5508-4B31-9F03-D15F56E85690}">
          <p14:sldIdLst>
            <p14:sldId id="284"/>
            <p14:sldId id="329"/>
            <p14:sldId id="286"/>
            <p14:sldId id="330"/>
            <p14:sldId id="299"/>
            <p14:sldId id="332"/>
            <p14:sldId id="256"/>
            <p14:sldId id="257"/>
            <p14:sldId id="260"/>
            <p14:sldId id="345"/>
            <p14:sldId id="261"/>
            <p14:sldId id="318"/>
            <p14:sldId id="333"/>
            <p14:sldId id="335"/>
            <p14:sldId id="334"/>
            <p14:sldId id="336"/>
            <p14:sldId id="313"/>
            <p14:sldId id="314"/>
            <p14:sldId id="337"/>
            <p14:sldId id="339"/>
            <p14:sldId id="338"/>
            <p14:sldId id="292"/>
            <p14:sldId id="346"/>
            <p14:sldId id="310"/>
            <p14:sldId id="340"/>
            <p14:sldId id="322"/>
            <p14:sldId id="341"/>
            <p14:sldId id="323"/>
            <p14:sldId id="342"/>
            <p14:sldId id="293"/>
            <p14:sldId id="343"/>
            <p14:sldId id="294"/>
            <p14:sldId id="331"/>
            <p14:sldId id="344"/>
            <p14:sldId id="315"/>
            <p14:sldId id="296"/>
          </p14:sldIdLst>
        </p14:section>
        <p14:section name="Divider slides" id="{0585301E-2F9B-425E-920B-E8B9B7F44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9B1"/>
    <a:srgbClr val="C02533"/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5C054E-E3B6-424B-AA8A-AA7446ADABE8}" v="1062" dt="2022-02-23T17:57:17.415"/>
    <p1510:client id="{78446AA9-08D0-93A1-C987-722A4A0BADBD}" v="15" dt="2023-02-22T22:28:19.337"/>
    <p1510:client id="{DE321735-CC43-3BAC-E8EB-5E1D859EBF19}" v="3" dt="2022-02-23T15:12:18.688"/>
    <p1510:client id="{F01D4D53-011C-4EB6-97C1-55E4155B0CC6}" v="1" dt="2022-02-23T08:40:51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460" autoAdjust="0"/>
  </p:normalViewPr>
  <p:slideViewPr>
    <p:cSldViewPr snapToGrid="0">
      <p:cViewPr varScale="1">
        <p:scale>
          <a:sx n="79" d="100"/>
          <a:sy n="79" d="100"/>
        </p:scale>
        <p:origin x="821" y="86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stenholz, Vibeke Lund (SGRE COG P OF TP)" userId="S::vibeke.westenholz@siemensgamesa.com::be2c167c-cc21-4c23-92b1-78ba209712f0" providerId="AD" clId="Web-{3F7DA618-F2FD-3752-8F8E-8002EBA5C971}"/>
    <pc:docChg chg="modSld">
      <pc:chgData name="Westenholz, Vibeke Lund (SGRE COG P OF TP)" userId="S::vibeke.westenholz@siemensgamesa.com::be2c167c-cc21-4c23-92b1-78ba209712f0" providerId="AD" clId="Web-{3F7DA618-F2FD-3752-8F8E-8002EBA5C971}" dt="2022-02-22T10:36:17.882" v="22" actId="20577"/>
      <pc:docMkLst>
        <pc:docMk/>
      </pc:docMkLst>
      <pc:sldChg chg="addSp delSp modSp">
        <pc:chgData name="Westenholz, Vibeke Lund (SGRE COG P OF TP)" userId="S::vibeke.westenholz@siemensgamesa.com::be2c167c-cc21-4c23-92b1-78ba209712f0" providerId="AD" clId="Web-{3F7DA618-F2FD-3752-8F8E-8002EBA5C971}" dt="2022-02-22T10:36:17.882" v="22" actId="20577"/>
        <pc:sldMkLst>
          <pc:docMk/>
          <pc:sldMk cId="4087205575" sldId="323"/>
        </pc:sldMkLst>
        <pc:spChg chg="mod">
          <ac:chgData name="Westenholz, Vibeke Lund (SGRE COG P OF TP)" userId="S::vibeke.westenholz@siemensgamesa.com::be2c167c-cc21-4c23-92b1-78ba209712f0" providerId="AD" clId="Web-{3F7DA618-F2FD-3752-8F8E-8002EBA5C971}" dt="2022-02-22T10:36:17.882" v="22" actId="20577"/>
          <ac:spMkLst>
            <pc:docMk/>
            <pc:sldMk cId="4087205575" sldId="323"/>
            <ac:spMk id="2" creationId="{54329A1D-5733-4D01-B538-36178393AF26}"/>
          </ac:spMkLst>
        </pc:spChg>
        <pc:spChg chg="add del mod">
          <ac:chgData name="Westenholz, Vibeke Lund (SGRE COG P OF TP)" userId="S::vibeke.westenholz@siemensgamesa.com::be2c167c-cc21-4c23-92b1-78ba209712f0" providerId="AD" clId="Web-{3F7DA618-F2FD-3752-8F8E-8002EBA5C971}" dt="2022-02-22T10:34:34.098" v="2"/>
          <ac:spMkLst>
            <pc:docMk/>
            <pc:sldMk cId="4087205575" sldId="323"/>
            <ac:spMk id="3" creationId="{CEF0E2B4-6364-4629-91F4-823DA7F8F284}"/>
          </ac:spMkLst>
        </pc:spChg>
        <pc:picChg chg="add mod">
          <ac:chgData name="Westenholz, Vibeke Lund (SGRE COG P OF TP)" userId="S::vibeke.westenholz@siemensgamesa.com::be2c167c-cc21-4c23-92b1-78ba209712f0" providerId="AD" clId="Web-{3F7DA618-F2FD-3752-8F8E-8002EBA5C971}" dt="2022-02-22T10:35:01.130" v="3"/>
          <ac:picMkLst>
            <pc:docMk/>
            <pc:sldMk cId="4087205575" sldId="323"/>
            <ac:picMk id="6" creationId="{191E5F50-010B-4C4B-A478-AA0E412665B7}"/>
          </ac:picMkLst>
        </pc:picChg>
      </pc:sldChg>
    </pc:docChg>
  </pc:docChgLst>
  <pc:docChgLst>
    <pc:chgData name="Wind-Larsen, Taus (SGRE OF TE NAC TD SYC)" userId="909f4c56-f0bd-48e2-b5e6-c85fd07560b7" providerId="ADAL" clId="{CAC997D2-2045-4FBD-88AA-2930340D2AF4}"/>
    <pc:docChg chg="undo redo custSel addSld delSld modSld sldOrd delMainMaster modMainMaster modSection">
      <pc:chgData name="Wind-Larsen, Taus (SGRE OF TE NAC TD SYC)" userId="909f4c56-f0bd-48e2-b5e6-c85fd07560b7" providerId="ADAL" clId="{CAC997D2-2045-4FBD-88AA-2930340D2AF4}" dt="2022-02-11T15:06:01.195" v="36839" actId="113"/>
      <pc:docMkLst>
        <pc:docMk/>
      </pc:docMkLst>
      <pc:sldChg chg="addSp delSp modSp add del mod">
        <pc:chgData name="Wind-Larsen, Taus (SGRE OF TE NAC TD SYC)" userId="909f4c56-f0bd-48e2-b5e6-c85fd07560b7" providerId="ADAL" clId="{CAC997D2-2045-4FBD-88AA-2930340D2AF4}" dt="2022-02-11T13:47:41.433" v="35008"/>
        <pc:sldMkLst>
          <pc:docMk/>
          <pc:sldMk cId="2028741205" sldId="256"/>
        </pc:sldMkLst>
        <pc:spChg chg="add del mod modVis">
          <ac:chgData name="Wind-Larsen, Taus (SGRE OF TE NAC TD SYC)" userId="909f4c56-f0bd-48e2-b5e6-c85fd07560b7" providerId="ADAL" clId="{CAC997D2-2045-4FBD-88AA-2930340D2AF4}" dt="2022-02-11T13:47:40.398" v="34950"/>
          <ac:spMkLst>
            <pc:docMk/>
            <pc:sldMk cId="2028741205" sldId="256"/>
            <ac:spMk id="2" creationId="{679DC7BE-F798-45D7-BA1F-0F29ED10F075}"/>
          </ac:spMkLst>
        </pc:spChg>
        <pc:spChg chg="mod">
          <ac:chgData name="Wind-Larsen, Taus (SGRE OF TE NAC TD SYC)" userId="909f4c56-f0bd-48e2-b5e6-c85fd07560b7" providerId="ADAL" clId="{CAC997D2-2045-4FBD-88AA-2930340D2AF4}" dt="2022-02-11T13:47:41.349" v="34967" actId="948"/>
          <ac:spMkLst>
            <pc:docMk/>
            <pc:sldMk cId="2028741205" sldId="256"/>
            <ac:spMk id="4" creationId="{E87FD221-A9E2-4D0B-BD27-3C78FCF356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1.430" v="35006"/>
          <ac:spMkLst>
            <pc:docMk/>
            <pc:sldMk cId="2028741205" sldId="256"/>
            <ac:spMk id="5" creationId="{12FAA47E-EF20-446E-8EBE-705D11AB1948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7:41.433" v="35008"/>
          <ac:graphicFrameMkLst>
            <pc:docMk/>
            <pc:sldMk cId="2028741205" sldId="256"/>
            <ac:graphicFrameMk id="3" creationId="{A5993D8B-2CF1-4A92-9E41-B12516C24774}"/>
          </ac:graphicFrameMkLst>
        </pc:graphicFrameChg>
      </pc:sldChg>
      <pc:sldChg chg="addSp delSp modSp add del mod">
        <pc:chgData name="Wind-Larsen, Taus (SGRE OF TE NAC TD SYC)" userId="909f4c56-f0bd-48e2-b5e6-c85fd07560b7" providerId="ADAL" clId="{CAC997D2-2045-4FBD-88AA-2930340D2AF4}" dt="2022-02-11T13:48:47.061" v="35927"/>
        <pc:sldMkLst>
          <pc:docMk/>
          <pc:sldMk cId="1109116256" sldId="257"/>
        </pc:sldMkLst>
        <pc:spChg chg="add del mod modVis">
          <ac:chgData name="Wind-Larsen, Taus (SGRE OF TE NAC TD SYC)" userId="909f4c56-f0bd-48e2-b5e6-c85fd07560b7" providerId="ADAL" clId="{CAC997D2-2045-4FBD-88AA-2930340D2AF4}" dt="2022-02-11T13:47:48.685" v="35081"/>
          <ac:spMkLst>
            <pc:docMk/>
            <pc:sldMk cId="1109116256" sldId="257"/>
            <ac:spMk id="2" creationId="{65D089B5-1618-459E-A3C7-5855B0D582E7}"/>
          </ac:spMkLst>
        </pc:spChg>
        <pc:spChg chg="mod">
          <ac:chgData name="Wind-Larsen, Taus (SGRE OF TE NAC TD SYC)" userId="909f4c56-f0bd-48e2-b5e6-c85fd07560b7" providerId="ADAL" clId="{CAC997D2-2045-4FBD-88AA-2930340D2AF4}" dt="2022-02-11T13:48:46.846" v="35841" actId="948"/>
          <ac:spMkLst>
            <pc:docMk/>
            <pc:sldMk cId="1109116256" sldId="257"/>
            <ac:spMk id="4" creationId="{A70F15DE-AA3E-4D6B-9342-CB30FBAE817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9.764" v="35169"/>
          <ac:spMkLst>
            <pc:docMk/>
            <pc:sldMk cId="1109116256" sldId="257"/>
            <ac:spMk id="5" creationId="{901EE3FE-4C50-4D5D-B720-076DAC2775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4.474" v="35244"/>
          <ac:spMkLst>
            <pc:docMk/>
            <pc:sldMk cId="1109116256" sldId="257"/>
            <ac:spMk id="6" creationId="{BF159952-07D2-4D00-B617-1D63101F45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5.319" v="35319"/>
          <ac:spMkLst>
            <pc:docMk/>
            <pc:sldMk cId="1109116256" sldId="257"/>
            <ac:spMk id="7" creationId="{B585027F-0EEA-4E4B-A2E5-E545016C45E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5.050" v="35394"/>
          <ac:spMkLst>
            <pc:docMk/>
            <pc:sldMk cId="1109116256" sldId="257"/>
            <ac:spMk id="8" creationId="{8012F10F-A9FF-40AA-86A6-538E0BB60A9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6.426" v="35484"/>
          <ac:spMkLst>
            <pc:docMk/>
            <pc:sldMk cId="1109116256" sldId="257"/>
            <ac:spMk id="9" creationId="{A8E75D7E-18BC-4C92-9138-DE522FC103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9.987" v="35572"/>
          <ac:spMkLst>
            <pc:docMk/>
            <pc:sldMk cId="1109116256" sldId="257"/>
            <ac:spMk id="10" creationId="{D01CBEEE-464A-4954-B2B0-C44A4F7E9B3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129" v="35660"/>
          <ac:spMkLst>
            <pc:docMk/>
            <pc:sldMk cId="1109116256" sldId="257"/>
            <ac:spMk id="11" creationId="{4E824029-1740-4A0C-B9D0-EB54E68542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907" v="35748"/>
          <ac:spMkLst>
            <pc:docMk/>
            <pc:sldMk cId="1109116256" sldId="257"/>
            <ac:spMk id="12" creationId="{C68B4954-D155-4971-BFB4-A49B0836585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32.027" v="35837"/>
          <ac:spMkLst>
            <pc:docMk/>
            <pc:sldMk cId="1109116256" sldId="257"/>
            <ac:spMk id="13" creationId="{7694B60F-5C2D-4F9A-B0EB-7B7E150C549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47.060" v="35925"/>
          <ac:spMkLst>
            <pc:docMk/>
            <pc:sldMk cId="1109116256" sldId="257"/>
            <ac:spMk id="14" creationId="{B7C706E0-FE0D-485E-9739-FC9716AA69CD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8:47.061" v="35927"/>
          <ac:graphicFrameMkLst>
            <pc:docMk/>
            <pc:sldMk cId="1109116256" sldId="257"/>
            <ac:graphicFrameMk id="3" creationId="{E51041FD-AE6C-4A2B-966F-8122E35DACDB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22:27.241" v="108" actId="47"/>
        <pc:sldMkLst>
          <pc:docMk/>
          <pc:sldMk cId="601587642" sldId="258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69205521" sldId="260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7" creationId="{4609862E-48F9-45AC-8D44-67A0268A793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9" creationId="{2D5EEA8B-2D86-4D1D-96B3-6B8290303786}"/>
          </ac:spMkLst>
        </pc:s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7" creationId="{FEB90296-CFE0-401D-9CA3-32966EC4F01D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9" creationId="{08C9B4EE-7611-4ED9-B356-7BDD377C39B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1" creationId="{4A4F266A-F2F7-47CD-8BBC-E3777E982FD2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3" creationId="{20D69C80-8919-4A32-B897-F2A21F940574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5" creationId="{F427B072-CC5B-481B-9719-8CD4C54444BE}"/>
          </ac:cxnSpMkLst>
        </pc:cxnChg>
      </pc:sldChg>
      <pc:sldChg chg="add del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526056995" sldId="261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674548677" sldId="263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5" creationId="{D067A139-86EB-480F-AE6B-AF8092F215E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7" creationId="{4E252378-AA68-427C-BF69-E4434E447DB5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3674548677" sldId="263"/>
            <ac:grpSpMk id="99" creationId="{65E8C853-59EA-4FCB-BB4E-1B0AEEA408EB}"/>
          </ac:grpSpMkLst>
        </pc:gr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5" creationId="{8FD48FB1-66D8-4676-B0AA-C139A1DB78D1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7" creationId="{F033F5AE-6728-4F19-8DED-658E674B31B9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9" creationId="{82C7D74A-18BA-4709-A808-44E8815C443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1" creationId="{B5164A3F-1561-4039-8185-AB0EEB713EA7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3" creationId="{2A35DB53-42BE-460E-9CA1-1294C98463CB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3:24:09.887" v="33960" actId="20577"/>
        <pc:sldMkLst>
          <pc:docMk/>
          <pc:sldMk cId="1618370001" sldId="271"/>
        </pc:sldMkLst>
        <pc:spChg chg="mod">
          <ac:chgData name="Wind-Larsen, Taus (SGRE OF TE NAC TD SYC)" userId="909f4c56-f0bd-48e2-b5e6-c85fd07560b7" providerId="ADAL" clId="{CAC997D2-2045-4FBD-88AA-2930340D2AF4}" dt="2022-02-11T13:23:57.220" v="33896" actId="948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Wind-Larsen, Taus (SGRE OF TE NAC TD SYC)" userId="909f4c56-f0bd-48e2-b5e6-c85fd07560b7" providerId="ADAL" clId="{CAC997D2-2045-4FBD-88AA-2930340D2AF4}" dt="2022-02-11T13:24:09.887" v="33960" actId="20577"/>
          <ac:spMkLst>
            <pc:docMk/>
            <pc:sldMk cId="1618370001" sldId="271"/>
            <ac:spMk id="3" creationId="{00000000-0000-0000-0000-0000000000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3:57.525" v="33935"/>
          <ac:spMkLst>
            <pc:docMk/>
            <pc:sldMk cId="1618370001" sldId="271"/>
            <ac:spMk id="6" creationId="{9E8808AA-3405-4438-86C3-08D716209DBB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3:57.544" v="33937"/>
          <ac:graphicFrameMkLst>
            <pc:docMk/>
            <pc:sldMk cId="1618370001" sldId="271"/>
            <ac:graphicFrameMk id="4" creationId="{5BA0C46B-8E1E-4531-984C-2FDE96CE78D9}"/>
          </ac:graphicFrameMkLst>
        </pc:graphicFrameChg>
      </pc:sldChg>
      <pc:sldChg chg="modSp mod">
        <pc:chgData name="Wind-Larsen, Taus (SGRE OF TE NAC TD SYC)" userId="909f4c56-f0bd-48e2-b5e6-c85fd07560b7" providerId="ADAL" clId="{CAC997D2-2045-4FBD-88AA-2930340D2AF4}" dt="2022-02-11T09:59:53.268" v="1118" actId="20577"/>
        <pc:sldMkLst>
          <pc:docMk/>
          <pc:sldMk cId="3563952106" sldId="284"/>
        </pc:sldMkLst>
        <pc:spChg chg="mod">
          <ac:chgData name="Wind-Larsen, Taus (SGRE OF TE NAC TD SYC)" userId="909f4c56-f0bd-48e2-b5e6-c85fd07560b7" providerId="ADAL" clId="{CAC997D2-2045-4FBD-88AA-2930340D2AF4}" dt="2022-02-11T08:22:40.916" v="111" actId="20577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9:59:53.268" v="111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2:29.913" v="109" actId="47"/>
        <pc:sldMkLst>
          <pc:docMk/>
          <pc:sldMk cId="3290329980" sldId="285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09:26:47.998" v="934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CAC997D2-2045-4FBD-88AA-2930340D2AF4}" dt="2022-02-11T09:26:45.836" v="891" actId="948"/>
          <ac:spMkLst>
            <pc:docMk/>
            <pc:sldMk cId="1320544008" sldId="286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6.524" v="695"/>
          <ac:spMkLst>
            <pc:docMk/>
            <pc:sldMk cId="1320544008" sldId="286"/>
            <ac:spMk id="3" creationId="{7A2A5A11-C840-45A4-9E53-F1CA5819A8DF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22.421" v="130" actId="20577"/>
          <ac:spMkLst>
            <pc:docMk/>
            <pc:sldMk cId="1320544008" sldId="286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9.857" v="738"/>
          <ac:spMkLst>
            <pc:docMk/>
            <pc:sldMk cId="1320544008" sldId="286"/>
            <ac:spMk id="8" creationId="{296750C7-CD66-4314-8D3A-7B3CF4A353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0.924" v="783"/>
          <ac:spMkLst>
            <pc:docMk/>
            <pc:sldMk cId="1320544008" sldId="286"/>
            <ac:spMk id="9" creationId="{FD74519D-6669-4F7E-AEAC-A6F3EDA580C9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34.277" v="144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CAC997D2-2045-4FBD-88AA-2930340D2AF4}" dt="2022-02-11T09:26:47.998" v="934" actId="20577"/>
          <ac:spMkLst>
            <pc:docMk/>
            <pc:sldMk cId="1320544008" sldId="286"/>
            <ac:spMk id="13" creationId="{AE67A3A1-67B6-4F7F-BF7F-9052DBA82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3.884" v="839"/>
          <ac:spMkLst>
            <pc:docMk/>
            <pc:sldMk cId="1320544008" sldId="286"/>
            <ac:spMk id="14" creationId="{94BF3623-F699-476A-A644-6A586EED012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4.937" v="884"/>
          <ac:spMkLst>
            <pc:docMk/>
            <pc:sldMk cId="1320544008" sldId="286"/>
            <ac:spMk id="16" creationId="{F185D966-CE25-4EBC-A37B-3B556F1DA1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5.887" v="930"/>
          <ac:spMkLst>
            <pc:docMk/>
            <pc:sldMk cId="1320544008" sldId="286"/>
            <ac:spMk id="17" creationId="{74B626FB-41CA-4594-A1C5-D24A95901701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9:26:45.895" v="932"/>
          <ac:graphicFrameMkLst>
            <pc:docMk/>
            <pc:sldMk cId="1320544008" sldId="286"/>
            <ac:graphicFrameMk id="7" creationId="{0CA3E6B4-5D0A-4682-8E37-8BE527F4F6A4}"/>
          </ac:graphicFrameMkLst>
        </pc:graphicFrameChg>
      </pc:sldChg>
      <pc:sldChg chg="addSp delSp modSp del mod">
        <pc:chgData name="Wind-Larsen, Taus (SGRE OF TE NAC TD SYC)" userId="909f4c56-f0bd-48e2-b5e6-c85fd07560b7" providerId="ADAL" clId="{CAC997D2-2045-4FBD-88AA-2930340D2AF4}" dt="2022-02-11T10:03:16.733" v="1809" actId="2696"/>
        <pc:sldMkLst>
          <pc:docMk/>
          <pc:sldMk cId="931352492" sldId="289"/>
        </pc:sldMkLst>
        <pc:spChg chg="mod">
          <ac:chgData name="Wind-Larsen, Taus (SGRE OF TE NAC TD SYC)" userId="909f4c56-f0bd-48e2-b5e6-c85fd07560b7" providerId="ADAL" clId="{CAC997D2-2045-4FBD-88AA-2930340D2AF4}" dt="2022-02-11T10:02:42.228" v="1366" actId="948"/>
          <ac:spMkLst>
            <pc:docMk/>
            <pc:sldMk cId="931352492" sldId="289"/>
            <ac:spMk id="2" creationId="{5D788ADA-8C37-43AB-89C9-1218A42316CA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24.549" v="1364" actId="20577"/>
          <ac:spMkLst>
            <pc:docMk/>
            <pc:sldMk cId="931352492" sldId="289"/>
            <ac:spMk id="3" creationId="{8E0AAC11-3202-46A9-8EB4-8DF0337F24B7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12.212" v="1361" actId="20577"/>
          <ac:spMkLst>
            <pc:docMk/>
            <pc:sldMk cId="931352492" sldId="289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3:22.159" v="388"/>
          <ac:spMkLst>
            <pc:docMk/>
            <pc:sldMk cId="931352492" sldId="289"/>
            <ac:spMk id="11" creationId="{6FA998D0-C9BB-48D4-AC16-7FA48760E2F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2:42.678" v="1804"/>
          <ac:graphicFrameMkLst>
            <pc:docMk/>
            <pc:sldMk cId="931352492" sldId="289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4:31.796" v="398" actId="47"/>
        <pc:sldMkLst>
          <pc:docMk/>
          <pc:sldMk cId="42064838" sldId="290"/>
        </pc:sldMkLst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596892949" sldId="29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19:33.421" v="33881" actId="1036"/>
        <pc:sldMkLst>
          <pc:docMk/>
          <pc:sldMk cId="1286349833" sldId="292"/>
        </pc:sldMkLst>
        <pc:spChg chg="mod">
          <ac:chgData name="Wind-Larsen, Taus (SGRE OF TE NAC TD SYC)" userId="909f4c56-f0bd-48e2-b5e6-c85fd07560b7" providerId="ADAL" clId="{CAC997D2-2045-4FBD-88AA-2930340D2AF4}" dt="2022-02-11T13:01:37.334" v="33347" actId="20577"/>
          <ac:spMkLst>
            <pc:docMk/>
            <pc:sldMk cId="1286349833" sldId="292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19:33.421" v="33881" actId="1036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Wind-Larsen, Taus (SGRE OF TE NAC TD SYC)" userId="909f4c56-f0bd-48e2-b5e6-c85fd07560b7" providerId="ADAL" clId="{CAC997D2-2045-4FBD-88AA-2930340D2AF4}" dt="2022-02-11T12:58:57.313" v="33312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addSp delSp modSp mod ord modAnim">
        <pc:chgData name="Wind-Larsen, Taus (SGRE OF TE NAC TD SYC)" userId="909f4c56-f0bd-48e2-b5e6-c85fd07560b7" providerId="ADAL" clId="{CAC997D2-2045-4FBD-88AA-2930340D2AF4}" dt="2022-02-11T14:58:21.916" v="36686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CAC997D2-2045-4FBD-88AA-2930340D2AF4}" dt="2022-02-11T08:39:39.433" v="475" actId="948"/>
          <ac:spMkLst>
            <pc:docMk/>
            <pc:sldMk cId="1840042121" sldId="293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9:39.502" v="514"/>
          <ac:spMkLst>
            <pc:docMk/>
            <pc:sldMk cId="1840042121" sldId="293"/>
            <ac:spMk id="3" creationId="{9AFC42FD-458F-475F-BB8E-99436D21AF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37:13.060" v="34763" actId="14100"/>
          <ac:spMkLst>
            <pc:docMk/>
            <pc:sldMk cId="1840042121" sldId="293"/>
            <ac:spMk id="9" creationId="{AF7B6429-EB7C-432F-B4E4-2BABD184123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8:21.916" v="36686" actId="114"/>
          <ac:spMkLst>
            <pc:docMk/>
            <pc:sldMk cId="1840042121" sldId="293"/>
            <ac:spMk id="10" creationId="{BD5C9BD0-DEBA-441F-9811-E50C4D0B74C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9:39.502" v="516"/>
          <ac:graphicFrameMkLst>
            <pc:docMk/>
            <pc:sldMk cId="1840042121" sldId="293"/>
            <ac:graphicFrameMk id="7" creationId="{0CA3E6B4-5D0A-4682-8E37-8BE527F4F6A4}"/>
          </ac:graphicFrameMkLst>
        </pc:graphicFrameChg>
        <pc:graphicFrameChg chg="del mod modGraphic">
          <ac:chgData name="Wind-Larsen, Taus (SGRE OF TE NAC TD SYC)" userId="909f4c56-f0bd-48e2-b5e6-c85fd07560b7" providerId="ADAL" clId="{CAC997D2-2045-4FBD-88AA-2930340D2AF4}" dt="2022-02-11T13:38:19.318" v="34764" actId="478"/>
          <ac:graphicFrameMkLst>
            <pc:docMk/>
            <pc:sldMk cId="1840042121" sldId="293"/>
            <ac:graphicFrameMk id="13" creationId="{13840F47-2AF9-410A-8185-E31A15DAA6BB}"/>
          </ac:graphicFrameMkLst>
        </pc:graphicFrameChg>
      </pc:sldChg>
      <pc:sldChg chg="modSp add del mod ord">
        <pc:chgData name="Wind-Larsen, Taus (SGRE OF TE NAC TD SYC)" userId="909f4c56-f0bd-48e2-b5e6-c85fd07560b7" providerId="ADAL" clId="{CAC997D2-2045-4FBD-88AA-2930340D2AF4}" dt="2022-02-11T13:44:15.223" v="34903" actId="20577"/>
        <pc:sldMkLst>
          <pc:docMk/>
          <pc:sldMk cId="2483631185" sldId="294"/>
        </pc:sldMkLst>
        <pc:spChg chg="mod">
          <ac:chgData name="Wind-Larsen, Taus (SGRE OF TE NAC TD SYC)" userId="909f4c56-f0bd-48e2-b5e6-c85fd07560b7" providerId="ADAL" clId="{CAC997D2-2045-4FBD-88AA-2930340D2AF4}" dt="2022-02-11T13:43:20.397" v="34872" actId="20577"/>
          <ac:spMkLst>
            <pc:docMk/>
            <pc:sldMk cId="2483631185" sldId="294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44:15.223" v="34903" actId="20577"/>
          <ac:spMkLst>
            <pc:docMk/>
            <pc:sldMk cId="2483631185" sldId="294"/>
            <ac:spMk id="9" creationId="{BD6FEC16-E623-48C9-9672-CDEEC8F3332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8:02.060" v="452"/>
          <ac:graphicFrameMkLst>
            <pc:docMk/>
            <pc:sldMk cId="2483631185" sldId="294"/>
            <ac:graphicFrameMk id="7" creationId="{0CA3E6B4-5D0A-4682-8E37-8BE527F4F6A4}"/>
          </ac:graphicFrameMkLst>
        </pc:graphicFrameChg>
      </pc:sldChg>
      <pc:sldChg chg="modSp mod ord">
        <pc:chgData name="Wind-Larsen, Taus (SGRE OF TE NAC TD SYC)" userId="909f4c56-f0bd-48e2-b5e6-c85fd07560b7" providerId="ADAL" clId="{CAC997D2-2045-4FBD-88AA-2930340D2AF4}" dt="2022-02-11T13:57:38.198" v="35948" actId="20577"/>
        <pc:sldMkLst>
          <pc:docMk/>
          <pc:sldMk cId="3176653745" sldId="296"/>
        </pc:sldMkLst>
        <pc:spChg chg="mod">
          <ac:chgData name="Wind-Larsen, Taus (SGRE OF TE NAC TD SYC)" userId="909f4c56-f0bd-48e2-b5e6-c85fd07560b7" providerId="ADAL" clId="{CAC997D2-2045-4FBD-88AA-2930340D2AF4}" dt="2022-02-11T13:57:38.198" v="35948" actId="20577"/>
          <ac:spMkLst>
            <pc:docMk/>
            <pc:sldMk cId="3176653745" sldId="296"/>
            <ac:spMk id="4" creationId="{7B1880A8-F560-4971-93F0-7C14A34CF76C}"/>
          </ac:spMkLst>
        </pc:spChg>
      </pc:sldChg>
      <pc:sldChg chg="addSp delSp modSp del mod ord">
        <pc:chgData name="Wind-Larsen, Taus (SGRE OF TE NAC TD SYC)" userId="909f4c56-f0bd-48e2-b5e6-c85fd07560b7" providerId="ADAL" clId="{CAC997D2-2045-4FBD-88AA-2930340D2AF4}" dt="2022-02-11T09:25:56.430" v="648" actId="47"/>
        <pc:sldMkLst>
          <pc:docMk/>
          <pc:sldMk cId="1163294343" sldId="298"/>
        </pc:sldMkLst>
        <pc:spChg chg="add del mod">
          <ac:chgData name="Wind-Larsen, Taus (SGRE OF TE NAC TD SYC)" userId="909f4c56-f0bd-48e2-b5e6-c85fd07560b7" providerId="ADAL" clId="{CAC997D2-2045-4FBD-88AA-2930340D2AF4}" dt="2022-02-11T09:22:22.413" v="591" actId="478"/>
          <ac:spMkLst>
            <pc:docMk/>
            <pc:sldMk cId="1163294343" sldId="298"/>
            <ac:spMk id="6" creationId="{7002898F-4CB5-4908-A4AC-A53C2175D7A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09:22:17.188" v="589" actId="478"/>
          <ac:spMkLst>
            <pc:docMk/>
            <pc:sldMk cId="1163294343" sldId="298"/>
            <ac:spMk id="8" creationId="{A2DC4E5B-D91D-4C2D-8B93-18BAD1A8865D}"/>
          </ac:spMkLst>
        </pc:spChg>
        <pc:spChg chg="del mod">
          <ac:chgData name="Wind-Larsen, Taus (SGRE OF TE NAC TD SYC)" userId="909f4c56-f0bd-48e2-b5e6-c85fd07560b7" providerId="ADAL" clId="{CAC997D2-2045-4FBD-88AA-2930340D2AF4}" dt="2022-02-11T09:20:26.163" v="580" actId="478"/>
          <ac:spMkLst>
            <pc:docMk/>
            <pc:sldMk cId="1163294343" sldId="298"/>
            <ac:spMk id="9" creationId="{1FBAB770-08BF-4BE4-AA95-ED4CA5E00D28}"/>
          </ac:spMkLst>
        </pc:spChg>
        <pc:spChg chg="add mod">
          <ac:chgData name="Wind-Larsen, Taus (SGRE OF TE NAC TD SYC)" userId="909f4c56-f0bd-48e2-b5e6-c85fd07560b7" providerId="ADAL" clId="{CAC997D2-2045-4FBD-88AA-2930340D2AF4}" dt="2022-02-11T09:23:45.135" v="611" actId="113"/>
          <ac:spMkLst>
            <pc:docMk/>
            <pc:sldMk cId="1163294343" sldId="298"/>
            <ac:spMk id="10" creationId="{F3B0E114-264F-4202-B6FD-C19654521FE1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5:38.184" v="202" actId="47"/>
        <pc:sldMkLst>
          <pc:docMk/>
          <pc:sldMk cId="1468755633" sldId="299"/>
        </pc:sldMkLst>
      </pc:sldChg>
      <pc:sldChg chg="modSp del mod">
        <pc:chgData name="Wind-Larsen, Taus (SGRE OF TE NAC TD SYC)" userId="909f4c56-f0bd-48e2-b5e6-c85fd07560b7" providerId="ADAL" clId="{CAC997D2-2045-4FBD-88AA-2930340D2AF4}" dt="2022-02-11T09:24:51.468" v="612" actId="47"/>
        <pc:sldMkLst>
          <pc:docMk/>
          <pc:sldMk cId="1398001458" sldId="305"/>
        </pc:sldMkLst>
        <pc:spChg chg="mod">
          <ac:chgData name="Wind-Larsen, Taus (SGRE OF TE NAC TD SYC)" userId="909f4c56-f0bd-48e2-b5e6-c85fd07560b7" providerId="ADAL" clId="{CAC997D2-2045-4FBD-88AA-2930340D2AF4}" dt="2022-02-11T08:30:26.729" v="311" actId="6549"/>
          <ac:spMkLst>
            <pc:docMk/>
            <pc:sldMk cId="1398001458" sldId="305"/>
            <ac:spMk id="9" creationId="{8316C5AD-B4DA-4900-89A4-B3DE30EFEBF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0:00:13.918" v="1120" actId="47"/>
        <pc:sldMkLst>
          <pc:docMk/>
          <pc:sldMk cId="3408353856" sldId="306"/>
        </pc:sldMkLst>
        <pc:spChg chg="mod">
          <ac:chgData name="Wind-Larsen, Taus (SGRE OF TE NAC TD SYC)" userId="909f4c56-f0bd-48e2-b5e6-c85fd07560b7" providerId="ADAL" clId="{CAC997D2-2045-4FBD-88AA-2930340D2AF4}" dt="2022-02-11T08:31:37.154" v="325" actId="20577"/>
          <ac:spMkLst>
            <pc:docMk/>
            <pc:sldMk cId="3408353856" sldId="306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8:32:42.081" v="348" actId="114"/>
          <ac:spMkLst>
            <pc:docMk/>
            <pc:sldMk cId="3408353856" sldId="306"/>
            <ac:spMk id="11" creationId="{51DD4FB2-3608-4CCA-A5BA-02832567250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20:58.258" v="33883" actId="47"/>
        <pc:sldMkLst>
          <pc:docMk/>
          <pc:sldMk cId="1697281255" sldId="307"/>
        </pc:sldMkLst>
        <pc:spChg chg="mod">
          <ac:chgData name="Wind-Larsen, Taus (SGRE OF TE NAC TD SYC)" userId="909f4c56-f0bd-48e2-b5e6-c85fd07560b7" providerId="ADAL" clId="{CAC997D2-2045-4FBD-88AA-2930340D2AF4}" dt="2022-02-11T08:34:03.198" v="395" actId="113"/>
          <ac:spMkLst>
            <pc:docMk/>
            <pc:sldMk cId="1697281255" sldId="307"/>
            <ac:spMk id="9" creationId="{9E13D2E9-3448-4B05-A060-5754F247B524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32:24.001" v="34256" actId="47"/>
        <pc:sldMkLst>
          <pc:docMk/>
          <pc:sldMk cId="2110885354" sldId="308"/>
        </pc:sldMkLst>
        <pc:spChg chg="mod">
          <ac:chgData name="Wind-Larsen, Taus (SGRE OF TE NAC TD SYC)" userId="909f4c56-f0bd-48e2-b5e6-c85fd07560b7" providerId="ADAL" clId="{CAC997D2-2045-4FBD-88AA-2930340D2AF4}" dt="2022-02-11T08:35:38.069" v="435" actId="114"/>
          <ac:spMkLst>
            <pc:docMk/>
            <pc:sldMk cId="2110885354" sldId="308"/>
            <ac:spMk id="9" creationId="{37637F06-2878-4AD0-9DEB-853E9FA19C8F}"/>
          </ac:spMkLst>
        </pc:spChg>
      </pc:sldChg>
      <pc:sldChg chg="addSp modSp add mod">
        <pc:chgData name="Wind-Larsen, Taus (SGRE OF TE NAC TD SYC)" userId="909f4c56-f0bd-48e2-b5e6-c85fd07560b7" providerId="ADAL" clId="{CAC997D2-2045-4FBD-88AA-2930340D2AF4}" dt="2022-02-11T13:11:34.715" v="33483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CAC997D2-2045-4FBD-88AA-2930340D2AF4}" dt="2022-02-11T12:59:41.261" v="33318" actId="20577"/>
          <ac:spMkLst>
            <pc:docMk/>
            <pc:sldMk cId="284083800" sldId="310"/>
            <ac:spMk id="4" creationId="{7B1880A8-F560-4971-93F0-7C14A34CF76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11:34.715" v="33483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OF TE NAC TD SYC)" userId="909f4c56-f0bd-48e2-b5e6-c85fd07560b7" providerId="ADAL" clId="{CAC997D2-2045-4FBD-88AA-2930340D2AF4}" dt="2022-02-11T13:10:29.927" v="33480" actId="5793"/>
          <ac:spMkLst>
            <pc:docMk/>
            <pc:sldMk cId="284083800" sldId="310"/>
            <ac:spMk id="11" creationId="{89B4B4D0-29E4-4778-863D-84D1F1E7D884}"/>
          </ac:spMkLst>
        </pc:spChg>
        <pc:picChg chg="add mod">
          <ac:chgData name="Wind-Larsen, Taus (SGRE OF TE NAC TD SYC)" userId="909f4c56-f0bd-48e2-b5e6-c85fd07560b7" providerId="ADAL" clId="{CAC997D2-2045-4FBD-88AA-2930340D2AF4}" dt="2022-02-11T13:11:11.681" v="33482"/>
          <ac:picMkLst>
            <pc:docMk/>
            <pc:sldMk cId="284083800" sldId="310"/>
            <ac:picMk id="8" creationId="{11D28B04-17F3-4014-8FB5-43BB1E461F6C}"/>
          </ac:picMkLst>
        </pc:picChg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3236824241" sldId="310"/>
        </pc:sldMkLst>
      </pc:sldChg>
      <pc:sldChg chg="delSp add del mod">
        <pc:chgData name="Wind-Larsen, Taus (SGRE OF TE NAC TD SYC)" userId="909f4c56-f0bd-48e2-b5e6-c85fd07560b7" providerId="ADAL" clId="{CAC997D2-2045-4FBD-88AA-2930340D2AF4}" dt="2022-02-11T13:11:55.710" v="33484" actId="47"/>
        <pc:sldMkLst>
          <pc:docMk/>
          <pc:sldMk cId="1651961601" sldId="311"/>
        </pc:sldMkLst>
        <pc:spChg chg="del">
          <ac:chgData name="Wind-Larsen, Taus (SGRE OF TE NAC TD SYC)" userId="909f4c56-f0bd-48e2-b5e6-c85fd07560b7" providerId="ADAL" clId="{CAC997D2-2045-4FBD-88AA-2930340D2AF4}" dt="2022-02-11T13:10:51.170" v="33481" actId="478"/>
          <ac:spMkLst>
            <pc:docMk/>
            <pc:sldMk cId="1651961601" sldId="311"/>
            <ac:spMk id="8" creationId="{7ECD6E56-672A-4277-96E0-AD1F7AAAA5E2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4246467792" sldId="311"/>
        </pc:sldMkLst>
        <pc:graphicFrameChg chg="mod">
          <ac:chgData name="Wind-Larsen, Taus (SGRE OF TE NAC TD SYC)" userId="909f4c56-f0bd-48e2-b5e6-c85fd07560b7" providerId="ADAL" clId="{CAC997D2-2045-4FBD-88AA-2930340D2AF4}" dt="2022-02-11T08:36:36.679" v="442"/>
          <ac:graphicFrameMkLst>
            <pc:docMk/>
            <pc:sldMk cId="4246467792" sldId="311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1:18.213" v="322" actId="47"/>
        <pc:sldMkLst>
          <pc:docMk/>
          <pc:sldMk cId="228174764" sldId="312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1:08:57.877" v="18295" actId="14734"/>
        <pc:sldMkLst>
          <pc:docMk/>
          <pc:sldMk cId="3672746191" sldId="313"/>
        </pc:sldMkLst>
        <pc:spChg chg="mod ord">
          <ac:chgData name="Wind-Larsen, Taus (SGRE OF TE NAC TD SYC)" userId="909f4c56-f0bd-48e2-b5e6-c85fd07560b7" providerId="ADAL" clId="{CAC997D2-2045-4FBD-88AA-2930340D2AF4}" dt="2022-02-11T10:50:00.576" v="18254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6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8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62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2"/>
          <ac:spMkLst>
            <pc:docMk/>
            <pc:sldMk cId="3672746191" sldId="313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3:52.337" v="18280" actId="6549"/>
          <ac:spMkLst>
            <pc:docMk/>
            <pc:sldMk cId="3672746191" sldId="313"/>
            <ac:spMk id="11" creationId="{A6A93498-D709-4606-93BB-0C3A4FCE74B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0:46.341" v="17063"/>
          <ac:spMkLst>
            <pc:docMk/>
            <pc:sldMk cId="3672746191" sldId="313"/>
            <ac:spMk id="14" creationId="{B9FFDD25-0962-4E04-8E4B-72BA531A284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01.707" v="17227"/>
          <ac:spMkLst>
            <pc:docMk/>
            <pc:sldMk cId="3672746191" sldId="313"/>
            <ac:spMk id="15" creationId="{14873C52-7A64-408B-8FA3-C650A5E7ABA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24.808" v="17321"/>
          <ac:spMkLst>
            <pc:docMk/>
            <pc:sldMk cId="3672746191" sldId="313"/>
            <ac:spMk id="16" creationId="{B6D16597-4F8E-4C05-9CD1-81213D8D601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2:19.763" v="17415"/>
          <ac:spMkLst>
            <pc:docMk/>
            <pc:sldMk cId="3672746191" sldId="313"/>
            <ac:spMk id="17" creationId="{BA97D412-CEE5-4584-A9CE-61E96A1436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48.892" v="17744"/>
          <ac:spMkLst>
            <pc:docMk/>
            <pc:sldMk cId="3672746191" sldId="313"/>
            <ac:spMk id="18" creationId="{1EFA27A0-13E3-49A0-BEAD-CC99BB6159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1.754" v="17899"/>
          <ac:spMkLst>
            <pc:docMk/>
            <pc:sldMk cId="3672746191" sldId="313"/>
            <ac:spMk id="19" creationId="{C1D9B20D-900D-4727-9175-A6D4310B59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6.721" v="17986"/>
          <ac:spMkLst>
            <pc:docMk/>
            <pc:sldMk cId="3672746191" sldId="313"/>
            <ac:spMk id="20" creationId="{5FD534AF-1F23-4CF2-BA91-8779A13C584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8.128" v="18143"/>
          <ac:spMkLst>
            <pc:docMk/>
            <pc:sldMk cId="3672746191" sldId="313"/>
            <ac:spMk id="21" creationId="{D03D38D5-6320-4A0B-A41A-97AB46C1BB9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9.505" v="18230"/>
          <ac:spMkLst>
            <pc:docMk/>
            <pc:sldMk cId="3672746191" sldId="313"/>
            <ac:spMk id="22" creationId="{2359FB60-5AE8-472D-9B57-492FD2A86EE7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8"/>
          <ac:spMkLst>
            <pc:docMk/>
            <pc:sldMk cId="3672746191" sldId="313"/>
            <ac:spMk id="29" creationId="{574F7830-3277-4CAD-98A5-F693E90BB13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50:00.592" v="18269"/>
          <ac:spMkLst>
            <pc:docMk/>
            <pc:sldMk cId="3672746191" sldId="313"/>
            <ac:spMk id="31" creationId="{1391917A-2AE4-4098-82E0-056E2DBDF03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4"/>
          <ac:spMkLst>
            <pc:docMk/>
            <pc:sldMk cId="3672746191" sldId="313"/>
            <ac:spMk id="39" creationId="{DDAC7749-6B82-4800-A3D3-8D870FB2659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49:58.065" v="18096"/>
          <ac:spMkLst>
            <pc:docMk/>
            <pc:sldMk cId="3672746191" sldId="313"/>
            <ac:spMk id="42" creationId="{34BF0EB7-16B4-4C56-9979-C12F4F420EF4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5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6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7"/>
          <ac:spMkLst>
            <pc:docMk/>
            <pc:sldMk cId="3672746191" sldId="313"/>
            <ac:spMk id="46" creationId="{C4A7604B-C9E6-4085-B19C-DBC83134F055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22:34.867" v="17524"/>
          <ac:spMkLst>
            <pc:docMk/>
            <pc:sldMk cId="3672746191" sldId="313"/>
            <ac:spMk id="47" creationId="{4FC512C5-B21F-488F-8330-82273A92E5E3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4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5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1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3"/>
          <ac:spMkLst>
            <pc:docMk/>
            <pc:sldMk cId="3672746191" sldId="313"/>
            <ac:spMk id="52" creationId="{184377C7-E3A0-4F75-9525-93272C2BD5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50:00.545" v="18243"/>
          <ac:spMkLst>
            <pc:docMk/>
            <pc:sldMk cId="3672746191" sldId="313"/>
            <ac:spMk id="54" creationId="{01BE3067-2CCB-468F-8C22-1564DE733018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50:00.608" v="18279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add del mod modGraphic">
          <ac:chgData name="Wind-Larsen, Taus (SGRE OF TE NAC TD SYC)" userId="909f4c56-f0bd-48e2-b5e6-c85fd07560b7" providerId="ADAL" clId="{CAC997D2-2045-4FBD-88AA-2930340D2AF4}" dt="2022-02-11T10:17:22.397" v="16616"/>
          <ac:graphicFrameMkLst>
            <pc:docMk/>
            <pc:sldMk cId="3672746191" sldId="313"/>
            <ac:graphicFrameMk id="12" creationId="{8A63B80A-494B-4EAC-A370-B383E61F3FAD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1:08:57.877" v="18295" actId="14734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01.653" v="17185"/>
          <ac:graphicFrameMkLst>
            <pc:docMk/>
            <pc:sldMk cId="3672746191" sldId="313"/>
            <ac:graphicFrameMk id="30" creationId="{4AF0FCFA-F2E1-495C-8D18-597261F02E1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24.755" v="17279"/>
          <ac:graphicFrameMkLst>
            <pc:docMk/>
            <pc:sldMk cId="3672746191" sldId="313"/>
            <ac:graphicFrameMk id="32" creationId="{8E7180D7-4295-479A-A93A-53AE6C82401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19.709" v="17373"/>
          <ac:graphicFrameMkLst>
            <pc:docMk/>
            <pc:sldMk cId="3672746191" sldId="313"/>
            <ac:graphicFrameMk id="34" creationId="{1E496AAB-4249-400E-82B7-67F9F672169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27.533" v="17474"/>
          <ac:graphicFrameMkLst>
            <pc:docMk/>
            <pc:sldMk cId="3672746191" sldId="313"/>
            <ac:graphicFrameMk id="36" creationId="{F91EC725-2A59-4BEA-8C66-6440588DA5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34.883" v="17535"/>
          <ac:graphicFrameMkLst>
            <pc:docMk/>
            <pc:sldMk cId="3672746191" sldId="313"/>
            <ac:graphicFrameMk id="37" creationId="{C3EF7E25-67F8-4B93-A52B-7C3FD6678D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35.278" v="17610"/>
          <ac:graphicFrameMkLst>
            <pc:docMk/>
            <pc:sldMk cId="3672746191" sldId="313"/>
            <ac:graphicFrameMk id="38" creationId="{5AD43351-352C-4C4E-B8C2-83ECDA4461D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48.839" v="17710"/>
          <ac:graphicFrameMkLst>
            <pc:docMk/>
            <pc:sldMk cId="3672746191" sldId="313"/>
            <ac:graphicFrameMk id="40" creationId="{81AE18A5-9C7A-489B-B11E-D7BF06FAC5A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1.704" v="17864"/>
          <ac:graphicFrameMkLst>
            <pc:docMk/>
            <pc:sldMk cId="3672746191" sldId="313"/>
            <ac:graphicFrameMk id="41" creationId="{E2FE23A1-4D00-42CF-BC7A-E9EA22406A0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6.668" v="17951"/>
          <ac:graphicFrameMkLst>
            <pc:docMk/>
            <pc:sldMk cId="3672746191" sldId="313"/>
            <ac:graphicFrameMk id="50" creationId="{506CAEBA-849E-46D9-805A-F333C17EE02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8.065" v="18108"/>
          <ac:graphicFrameMkLst>
            <pc:docMk/>
            <pc:sldMk cId="3672746191" sldId="313"/>
            <ac:graphicFrameMk id="53" creationId="{BE1BD3C5-47EA-4DD0-9841-B02C49F3BF5F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20:46.282" v="17022"/>
          <ac:graphicFrameMkLst>
            <pc:docMk/>
            <pc:sldMk cId="3672746191" sldId="313"/>
            <ac:graphicFrameMk id="55" creationId="{0CE55B2B-7639-4710-A91C-B990DDFC74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9.442" v="18195"/>
          <ac:graphicFrameMkLst>
            <pc:docMk/>
            <pc:sldMk cId="3672746191" sldId="313"/>
            <ac:graphicFrameMk id="56" creationId="{72F14736-63C8-44EC-9477-9887719281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50:00.545" v="18245"/>
          <ac:graphicFrameMkLst>
            <pc:docMk/>
            <pc:sldMk cId="3672746191" sldId="313"/>
            <ac:graphicFrameMk id="57" creationId="{9AF6B4CA-6331-47BC-AF5D-C37DD87091F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50:00.592" v="18263"/>
          <ac:graphicFrameMkLst>
            <pc:docMk/>
            <pc:sldMk cId="3672746191" sldId="313"/>
            <ac:graphicFrameMk id="58" creationId="{268C19AF-944F-4775-AE06-14BFF1C4EB4C}"/>
          </ac:graphicFrameMkLst>
        </pc:graphicFrameChg>
        <pc:picChg chg="add del mod">
          <ac:chgData name="Wind-Larsen, Taus (SGRE OF TE NAC TD SYC)" userId="909f4c56-f0bd-48e2-b5e6-c85fd07560b7" providerId="ADAL" clId="{CAC997D2-2045-4FBD-88AA-2930340D2AF4}" dt="2022-02-11T10:17:01.296" v="16610" actId="478"/>
          <ac:picMkLst>
            <pc:docMk/>
            <pc:sldMk cId="3672746191" sldId="313"/>
            <ac:picMk id="9" creationId="{D2F89DC8-5C74-4836-BB22-80027E2BF6DA}"/>
          </ac:picMkLst>
        </pc:picChg>
        <pc:picChg chg="del">
          <ac:chgData name="Wind-Larsen, Taus (SGRE OF TE NAC TD SYC)" userId="909f4c56-f0bd-48e2-b5e6-c85fd07560b7" providerId="ADAL" clId="{CAC997D2-2045-4FBD-88AA-2930340D2AF4}" dt="2022-02-11T10:15:32.922" v="16603" actId="478"/>
          <ac:picMkLst>
            <pc:docMk/>
            <pc:sldMk cId="3672746191" sldId="313"/>
            <ac:picMk id="10" creationId="{DC9EAB48-116D-4DCD-B020-FFC9C222C131}"/>
          </ac:picMkLst>
        </pc:picChg>
        <pc:cxnChg chg="del mod ord">
          <ac:chgData name="Wind-Larsen, Taus (SGRE OF TE NAC TD SYC)" userId="909f4c56-f0bd-48e2-b5e6-c85fd07560b7" providerId="ADAL" clId="{CAC997D2-2045-4FBD-88AA-2930340D2AF4}" dt="2022-02-11T10:22:34.867" v="17522"/>
          <ac:cxnSpMkLst>
            <pc:docMk/>
            <pc:sldMk cId="3672746191" sldId="313"/>
            <ac:cxnSpMk id="24" creationId="{F4C36181-9D27-4939-A54D-678B1532EE0F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20"/>
          <ac:cxnSpMkLst>
            <pc:docMk/>
            <pc:sldMk cId="3672746191" sldId="313"/>
            <ac:cxnSpMk id="26" creationId="{A763C920-A776-498F-A8B0-16AF1591AE38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18"/>
          <ac:cxnSpMkLst>
            <pc:docMk/>
            <pc:sldMk cId="3672746191" sldId="313"/>
            <ac:cxnSpMk id="27" creationId="{D2A0C21C-9E2E-4F75-AB27-727E91C76C13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4:53:02.940" v="36680"/>
        <pc:sldMkLst>
          <pc:docMk/>
          <pc:sldMk cId="1209066160" sldId="314"/>
        </pc:sldMkLst>
        <pc:spChg chg="mod ord">
          <ac:chgData name="Wind-Larsen, Taus (SGRE OF TE NAC TD SYC)" userId="909f4c56-f0bd-48e2-b5e6-c85fd07560b7" providerId="ADAL" clId="{CAC997D2-2045-4FBD-88AA-2930340D2AF4}" dt="2022-02-11T14:53:02.914" v="36647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49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51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9" v="36655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3" v="36645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7" v="36653"/>
          <ac:spMkLst>
            <pc:docMk/>
            <pc:sldMk cId="1209066160" sldId="314"/>
            <ac:spMk id="9" creationId="{04F17845-4D22-45ED-9899-3BF6E77ACD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19.233" v="19118"/>
          <ac:spMkLst>
            <pc:docMk/>
            <pc:sldMk cId="1209066160" sldId="314"/>
            <ac:spMk id="10" creationId="{681B0732-662D-4D3E-A5A7-5B57C58712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22.692" v="19289"/>
          <ac:spMkLst>
            <pc:docMk/>
            <pc:sldMk cId="1209066160" sldId="314"/>
            <ac:spMk id="12" creationId="{6EA7E408-3B4B-47BA-BD28-D2355E257DD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0.755" v="19408"/>
          <ac:spMkLst>
            <pc:docMk/>
            <pc:sldMk cId="1209066160" sldId="314"/>
            <ac:spMk id="13" creationId="{6CC59C4D-F0EA-4405-8513-5B36418E12F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4.872" v="19845"/>
          <ac:spMkLst>
            <pc:docMk/>
            <pc:sldMk cId="1209066160" sldId="314"/>
            <ac:spMk id="14" creationId="{A286AA19-2891-42C6-B3F4-E33BB8FC643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8.035" v="19970"/>
          <ac:spMkLst>
            <pc:docMk/>
            <pc:sldMk cId="1209066160" sldId="314"/>
            <ac:spMk id="15" creationId="{72CA66A2-3764-43E2-86EC-FCAF22AB5A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46.642" v="20078"/>
          <ac:spMkLst>
            <pc:docMk/>
            <pc:sldMk cId="1209066160" sldId="314"/>
            <ac:spMk id="16" creationId="{1C50708C-9619-4E4A-8BC5-AB72ABD349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2.280" v="20174"/>
          <ac:spMkLst>
            <pc:docMk/>
            <pc:sldMk cId="1209066160" sldId="314"/>
            <ac:spMk id="17" creationId="{610290DD-11A3-4B26-91EE-F333F544231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4.998" v="20272"/>
          <ac:spMkLst>
            <pc:docMk/>
            <pc:sldMk cId="1209066160" sldId="314"/>
            <ac:spMk id="18" creationId="{C5E8198F-9661-47A1-B97D-BE81062EAEE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08.220" v="20437"/>
          <ac:spMkLst>
            <pc:docMk/>
            <pc:sldMk cId="1209066160" sldId="314"/>
            <ac:spMk id="19" creationId="{D428ACD5-8D2B-4477-B907-9357B0FC651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2.265" v="20602"/>
          <ac:spMkLst>
            <pc:docMk/>
            <pc:sldMk cId="1209066160" sldId="314"/>
            <ac:spMk id="20" creationId="{386DF00C-E8E4-4E66-BD30-8E6C59F127B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6.707" v="20769"/>
          <ac:spMkLst>
            <pc:docMk/>
            <pc:sldMk cId="1209066160" sldId="314"/>
            <ac:spMk id="21" creationId="{AF129EDB-5E51-4AAA-B2B4-A13C2396B7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0.948" v="20882"/>
          <ac:spMkLst>
            <pc:docMk/>
            <pc:sldMk cId="1209066160" sldId="314"/>
            <ac:spMk id="22" creationId="{EC1C6D24-3536-4F01-8364-6773BD96658D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3" creationId="{F7660974-F7B8-468B-9F1B-A768984AC22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4" creationId="{FE6314DC-C4E9-42DB-AF1F-F1529E09E031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5" creationId="{A89221C6-E52A-4EE3-9E36-87B05905BE8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7" v="36667"/>
          <ac:spMkLst>
            <pc:docMk/>
            <pc:sldMk cId="1209066160" sldId="314"/>
            <ac:spMk id="26" creationId="{5D8DC933-BD83-4105-A2C4-90E882B5AF2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0" v="36669"/>
          <ac:spMkLst>
            <pc:docMk/>
            <pc:sldMk cId="1209066160" sldId="314"/>
            <ac:spMk id="27" creationId="{517F3945-3335-456D-836F-959B7E8B38D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3" v="36671"/>
          <ac:spMkLst>
            <pc:docMk/>
            <pc:sldMk cId="1209066160" sldId="314"/>
            <ac:spMk id="28" creationId="{2FD4225D-9A52-463F-89E3-923BA9F25DF4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9" creationId="{37772C43-C862-4EC0-AADA-2EDE82B7D63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64" v="19932"/>
          <ac:spMkLst>
            <pc:docMk/>
            <pc:sldMk cId="1209066160" sldId="314"/>
            <ac:spMk id="30" creationId="{4EA7C3B8-208D-4052-8607-00501DD1CF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4" v="19293"/>
          <ac:spMkLst>
            <pc:docMk/>
            <pc:sldMk cId="1209066160" sldId="314"/>
            <ac:spMk id="31" creationId="{C66C1499-1B8C-46D4-B9AB-9FF0AB5E678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8" v="19294"/>
          <ac:spMkLst>
            <pc:docMk/>
            <pc:sldMk cId="1209066160" sldId="314"/>
            <ac:spMk id="32" creationId="{A80F393C-D8D1-4152-8F6E-981F9BDF777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4"/>
          <ac:spMkLst>
            <pc:docMk/>
            <pc:sldMk cId="1209066160" sldId="314"/>
            <ac:spMk id="33" creationId="{25175C36-499C-4A87-B72F-BA6FBE5825E3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5"/>
          <ac:spMkLst>
            <pc:docMk/>
            <pc:sldMk cId="1209066160" sldId="314"/>
            <ac:spMk id="34" creationId="{0B80334B-3D07-4D27-8662-22D31CFB2CC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6"/>
          <ac:spMkLst>
            <pc:docMk/>
            <pc:sldMk cId="1209066160" sldId="314"/>
            <ac:spMk id="35" creationId="{5D169CAB-A598-4A04-8D57-E0797BE327CA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37" creationId="{3D9EEAFE-14AF-4034-9444-4A2019A7BBD3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0.458" v="19326"/>
          <ac:spMkLst>
            <pc:docMk/>
            <pc:sldMk cId="1209066160" sldId="314"/>
            <ac:spMk id="38" creationId="{51B4047C-E4C1-4AD5-8AA7-1E8AE4D172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70" v="19934"/>
          <ac:spMkLst>
            <pc:docMk/>
            <pc:sldMk cId="1209066160" sldId="314"/>
            <ac:spMk id="41" creationId="{C14CAEE0-BF07-4532-A666-7868E7625A1F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2" creationId="{BBA672EB-9970-4F15-BD9F-B55D4CA6B09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43.899" v="21057"/>
          <ac:spMkLst>
            <pc:docMk/>
            <pc:sldMk cId="1209066160" sldId="314"/>
            <ac:spMk id="43" creationId="{74F0B28F-CBC2-42A6-9020-B1F050AD7C3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4" creationId="{08A67F4F-8F18-4B08-9CE4-15A915E687F0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5" creationId="{EC5EE86D-90DC-43FB-91E0-042A768F72B5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7.409" v="19850"/>
          <ac:spMkLst>
            <pc:docMk/>
            <pc:sldMk cId="1209066160" sldId="314"/>
            <ac:spMk id="46" creationId="{09A67A54-4989-4CAA-83E1-3C6C7E6A053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2" v="19936"/>
          <ac:spMkLst>
            <pc:docMk/>
            <pc:sldMk cId="1209066160" sldId="314"/>
            <ac:spMk id="47" creationId="{E0174BA6-0B81-44DE-B3B7-03AA6219E815}"/>
          </ac:spMkLst>
        </pc:spChg>
        <pc:spChg chg="del">
          <ac:chgData name="Wind-Larsen, Taus (SGRE OF TE NAC TD SYC)" userId="909f4c56-f0bd-48e2-b5e6-c85fd07560b7" providerId="ADAL" clId="{CAC997D2-2045-4FBD-88AA-2930340D2AF4}" dt="2022-02-11T11:10:24.246" v="18312" actId="478"/>
          <ac:spMkLst>
            <pc:docMk/>
            <pc:sldMk cId="1209066160" sldId="314"/>
            <ac:spMk id="48" creationId="{7C0543D2-EE86-4BF6-94E2-DBB2010B93A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7" v="19937"/>
          <ac:spMkLst>
            <pc:docMk/>
            <pc:sldMk cId="1209066160" sldId="314"/>
            <ac:spMk id="52" creationId="{5D79ED0A-799D-452B-9898-2FF89A399F2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8" v="19938"/>
          <ac:spMkLst>
            <pc:docMk/>
            <pc:sldMk cId="1209066160" sldId="314"/>
            <ac:spMk id="53" creationId="{9938A5CB-11DF-4E4C-9C40-F578C474C1FE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20" v="36657"/>
          <ac:spMkLst>
            <pc:docMk/>
            <pc:sldMk cId="1209066160" sldId="314"/>
            <ac:spMk id="57" creationId="{6FAB43A1-EA11-4255-B86F-726004BB6D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9" v="36668"/>
          <ac:spMkLst>
            <pc:docMk/>
            <pc:sldMk cId="1209066160" sldId="314"/>
            <ac:spMk id="59" creationId="{25CFCEC0-B110-4174-A12D-60BA5D61B64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1" v="36670"/>
          <ac:spMkLst>
            <pc:docMk/>
            <pc:sldMk cId="1209066160" sldId="314"/>
            <ac:spMk id="61" creationId="{D13114FD-DCB1-4DA4-A7D1-73E0F6D540A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4" v="36672"/>
          <ac:spMkLst>
            <pc:docMk/>
            <pc:sldMk cId="1209066160" sldId="314"/>
            <ac:spMk id="63" creationId="{D3696484-1079-407D-8807-61547CA1741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7" v="36674"/>
          <ac:spMkLst>
            <pc:docMk/>
            <pc:sldMk cId="1209066160" sldId="314"/>
            <ac:spMk id="65" creationId="{290E05D6-59AA-47D6-A84B-621B888831E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8" v="36675"/>
          <ac:spMkLst>
            <pc:docMk/>
            <pc:sldMk cId="1209066160" sldId="314"/>
            <ac:spMk id="67" creationId="{529E55F6-06A8-434C-B0E0-D8A9D0616ED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9" v="36676"/>
          <ac:spMkLst>
            <pc:docMk/>
            <pc:sldMk cId="1209066160" sldId="314"/>
            <ac:spMk id="69" creationId="{20DA7BC9-8807-475C-9621-163B010D23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33.854" v="20957"/>
          <ac:spMkLst>
            <pc:docMk/>
            <pc:sldMk cId="1209066160" sldId="314"/>
            <ac:spMk id="71" creationId="{9455F0BE-49F6-45FF-962E-6F5D3D9B189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3.978" v="20993"/>
          <ac:spMkLst>
            <pc:docMk/>
            <pc:sldMk cId="1209066160" sldId="314"/>
            <ac:spMk id="72" creationId="{2FE6A411-51CE-4B8B-8A84-BA22816AB7D1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4:53:02.940" v="36678"/>
          <ac:spMkLst>
            <pc:docMk/>
            <pc:sldMk cId="1209066160" sldId="314"/>
            <ac:spMk id="78" creationId="{4ACE6BF3-1590-4A5A-94F5-E5E6F38680B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10.435" v="21425"/>
          <ac:spMkLst>
            <pc:docMk/>
            <pc:sldMk cId="1209066160" sldId="314"/>
            <ac:spMk id="79" creationId="{857E168C-CFBF-4FE8-9EBF-64B22AE46B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21.905" v="21535"/>
          <ac:spMkLst>
            <pc:docMk/>
            <pc:sldMk cId="1209066160" sldId="314"/>
            <ac:spMk id="84" creationId="{4DDE55F7-0B61-42A3-952E-7225ECC48F5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0:28.669" v="30124"/>
          <ac:spMkLst>
            <pc:docMk/>
            <pc:sldMk cId="1209066160" sldId="314"/>
            <ac:spMk id="87" creationId="{97B4EBD5-42FC-49C9-8FA3-ECD7DF4582D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0.991" v="21775"/>
          <ac:spMkLst>
            <pc:docMk/>
            <pc:sldMk cId="1209066160" sldId="314"/>
            <ac:spMk id="88" creationId="{67B6ACC7-036B-4F03-86BA-8D3143242D3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4.852" v="21870"/>
          <ac:spMkLst>
            <pc:docMk/>
            <pc:sldMk cId="1209066160" sldId="314"/>
            <ac:spMk id="90" creationId="{AC1DF291-FD0B-43B6-9E60-A547AA81FCE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3" creationId="{5DBCD7ED-F03B-48E4-BE94-2DE68D49999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4" creationId="{98CDE4BE-1FBB-4F69-B5C0-7E47F2C392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5" creationId="{9B215EF6-50A4-4386-BF2B-2684D819B3A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6" creationId="{58429218-67E4-437B-B73C-01F3CA58039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7" creationId="{DEE3B0C3-69D8-4E1B-A221-21D7E384673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8" creationId="{2A4D91AA-5ECA-4DE3-9C34-9C4B9D6AB11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9" creationId="{6AAE5FBA-7C12-446B-8442-EDB42780AF3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0" creationId="{583A2EFA-6879-49CC-A644-8B18E68D06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1" creationId="{875B51DE-4724-40E6-98B3-27771A67FB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2" creationId="{82F05C75-25F1-4BE1-954A-80F5CBD42C3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3" creationId="{399D21A8-C23E-4201-98AD-86D9FD4EA35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4" creationId="{62CB5B16-FE22-423E-8F75-40FBACD452C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31.110" v="29280"/>
          <ac:spMkLst>
            <pc:docMk/>
            <pc:sldMk cId="1209066160" sldId="314"/>
            <ac:spMk id="106" creationId="{524A4502-792B-4E53-A7BE-29B83F23351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3"/>
          <ac:spMkLst>
            <pc:docMk/>
            <pc:sldMk cId="1209066160" sldId="314"/>
            <ac:spMk id="107" creationId="{29AC5CAE-77A9-4ECC-A24A-BAEEF4B8194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4"/>
          <ac:spMkLst>
            <pc:docMk/>
            <pc:sldMk cId="1209066160" sldId="314"/>
            <ac:spMk id="108" creationId="{74C24CCF-5726-420C-8090-0C83CAF3E29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4" v="29835"/>
          <ac:spMkLst>
            <pc:docMk/>
            <pc:sldMk cId="1209066160" sldId="314"/>
            <ac:spMk id="109" creationId="{4EFE632E-F530-400C-B78B-6AAC06462B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5" v="29836"/>
          <ac:spMkLst>
            <pc:docMk/>
            <pc:sldMk cId="1209066160" sldId="314"/>
            <ac:spMk id="110" creationId="{47639D9D-98DD-402E-93F7-4C21BCE8C98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995" v="29900"/>
          <ac:spMkLst>
            <pc:docMk/>
            <pc:sldMk cId="1209066160" sldId="314"/>
            <ac:spMk id="111" creationId="{A2C8AB76-0D57-4953-8914-9B9ED49244F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4" creationId="{A7AEEAA5-745A-4BE8-B291-C60E5872934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5" creationId="{5DEA6C07-3651-4342-86B4-0890DA1B51C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7" creationId="{373EEA6D-1254-4854-85D1-0C06A825E4F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8" creationId="{6194C3AE-911F-4F33-8C61-21A50CA4AD4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9" creationId="{2748EFEF-648F-483B-85FE-E30DC515DF1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0" creationId="{D051E974-8120-42E6-A79A-8731A1C41C4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1" creationId="{2ED41E2F-4B9A-4AA9-AD16-B09656F6364C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3" creationId="{D99B5423-823F-42E6-8972-F05139BE4E4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4" creationId="{0E398622-10EF-49F1-8E74-C8B31E0061B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5" creationId="{56F377D7-27D6-4D57-B4AB-9E78E20D1D6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6" creationId="{2AE69126-DF6B-41F5-A854-76B4FB9392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7" creationId="{81F3A2D2-889E-4BFA-9C1D-7B49B561B65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8" creationId="{F9AB28B7-AC62-4F68-B7BC-EFD7271B86A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9" creationId="{29E666CA-A92C-4C84-AFEC-437F8430A42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0" creationId="{1D52D603-E050-4FFA-A76A-24C628362ED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1" creationId="{CB28C14E-D55B-4858-A6AC-0DF20AD9826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2" creationId="{0AF6253A-9D5E-452D-BFAA-C797BAFD4A6D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3" creationId="{53C91307-D8D8-43C6-BB90-3C4BB82A9287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4" creationId="{0B7AE0EE-7229-40BD-945E-2B6783B95DA2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5" creationId="{B977F201-02B8-4822-A5F8-3A9F2253141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7" creationId="{B2F4F0B7-D582-49AE-86F0-BAA02AC5CBF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8" creationId="{EFA28ABB-9357-4BB5-A419-964F955AEBE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9" creationId="{A4276058-8403-408C-B5A4-09309FFCF02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0" creationId="{3E124EA1-DA55-429D-A434-E9E5B052A4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1" creationId="{4DDECD60-3E64-415B-A11A-2C6A5FC11D4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2" creationId="{81FB219B-0E67-492E-97B8-0D8E976462B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4.329" v="29712"/>
          <ac:spMkLst>
            <pc:docMk/>
            <pc:sldMk cId="1209066160" sldId="314"/>
            <ac:spMk id="145" creationId="{664F4D99-5D40-4E91-AEBF-664B01E390F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5.163" v="29732"/>
          <ac:spMkLst>
            <pc:docMk/>
            <pc:sldMk cId="1209066160" sldId="314"/>
            <ac:spMk id="146" creationId="{36A717CD-C2AE-45CC-89D2-41D242CDC1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8.079" v="29961"/>
          <ac:spMkLst>
            <pc:docMk/>
            <pc:sldMk cId="1209066160" sldId="314"/>
            <ac:spMk id="149" creationId="{A4675B89-07BF-436B-B97A-3E26AC48D9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1:47.604" v="31246"/>
          <ac:spMkLst>
            <pc:docMk/>
            <pc:sldMk cId="1209066160" sldId="314"/>
            <ac:spMk id="151" creationId="{D8C83C6E-7897-41BF-8040-138881AF6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0:09.154" v="30121"/>
          <ac:spMkLst>
            <pc:docMk/>
            <pc:sldMk cId="1209066160" sldId="314"/>
            <ac:spMk id="152" creationId="{5D152618-3CAF-4691-8FD9-0B5F884D1E4F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6" creationId="{AE417529-DCE9-47E1-8A33-D7A35494EC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7" creationId="{447DF699-4EC2-43BF-9E99-BC7141CEA3C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10.636" v="30865"/>
          <ac:spMkLst>
            <pc:docMk/>
            <pc:sldMk cId="1209066160" sldId="314"/>
            <ac:spMk id="164" creationId="{1FF4EAF8-14B4-48BB-9DF6-F1D69F8EC143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02.935" v="36673"/>
          <ac:spMkLst>
            <pc:docMk/>
            <pc:sldMk cId="1209066160" sldId="314"/>
            <ac:spMk id="175" creationId="{713D82D2-1066-4FEE-96C3-92967F850F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29.970" v="31554"/>
          <ac:spMkLst>
            <pc:docMk/>
            <pc:sldMk cId="1209066160" sldId="314"/>
            <ac:spMk id="176" creationId="{14994619-8359-4E1C-9B33-A6F93E29FFD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1.596" v="31716"/>
          <ac:spMkLst>
            <pc:docMk/>
            <pc:sldMk cId="1209066160" sldId="314"/>
            <ac:spMk id="179" creationId="{011D164F-BB68-4E5D-9153-0575F918BF6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4.043" v="31948"/>
          <ac:spMkLst>
            <pc:docMk/>
            <pc:sldMk cId="1209066160" sldId="314"/>
            <ac:spMk id="181" creationId="{60038389-1359-4EE4-AA2D-DAAA2249A4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7.560" v="31881"/>
          <ac:spMkLst>
            <pc:docMk/>
            <pc:sldMk cId="1209066160" sldId="314"/>
            <ac:spMk id="182" creationId="{7F1BAF51-0A30-4312-8074-D38E638E8B9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9.255" v="32236"/>
          <ac:spMkLst>
            <pc:docMk/>
            <pc:sldMk cId="1209066160" sldId="314"/>
            <ac:spMk id="185" creationId="{1D134706-D0D9-4E9B-8DDD-9C165985B80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4.384" v="32109"/>
          <ac:spMkLst>
            <pc:docMk/>
            <pc:sldMk cId="1209066160" sldId="314"/>
            <ac:spMk id="186" creationId="{AAAEADD3-5043-4D76-B28B-9991062CA16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3.138" v="32466"/>
          <ac:spMkLst>
            <pc:docMk/>
            <pc:sldMk cId="1209066160" sldId="314"/>
            <ac:spMk id="190" creationId="{7EBB0A07-6687-4445-9E2F-196F9BF964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9.651" v="32395"/>
          <ac:spMkLst>
            <pc:docMk/>
            <pc:sldMk cId="1209066160" sldId="314"/>
            <ac:spMk id="191" creationId="{6EE23DB8-5B9B-49AA-8809-4CDC80A3201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7.762" v="32696"/>
          <ac:spMkLst>
            <pc:docMk/>
            <pc:sldMk cId="1209066160" sldId="314"/>
            <ac:spMk id="194" creationId="{7B4D8911-BCA4-4C6B-9891-7F00E346A0A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3.612" v="32623"/>
          <ac:spMkLst>
            <pc:docMk/>
            <pc:sldMk cId="1209066160" sldId="314"/>
            <ac:spMk id="195" creationId="{E2AB06E3-BA31-4ECC-91CB-DBE0F45EB37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11.322" v="32926"/>
          <ac:spMkLst>
            <pc:docMk/>
            <pc:sldMk cId="1209066160" sldId="314"/>
            <ac:spMk id="198" creationId="{2DD7DB1F-D389-47AF-9719-4060F9EBB0C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8.181" v="32851"/>
          <ac:spMkLst>
            <pc:docMk/>
            <pc:sldMk cId="1209066160" sldId="314"/>
            <ac:spMk id="199" creationId="{547952FF-3DCB-4CC4-89E1-4E991734B8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39.777" v="33077"/>
          <ac:spMkLst>
            <pc:docMk/>
            <pc:sldMk cId="1209066160" sldId="314"/>
            <ac:spMk id="203" creationId="{5E035AED-0266-47E2-85D4-1B523EDD920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4:53:02.940" v="36680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4:53:02.921" v="36659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22.554" v="19254"/>
          <ac:graphicFrameMkLst>
            <pc:docMk/>
            <pc:sldMk cId="1209066160" sldId="314"/>
            <ac:graphicFrameMk id="36" creationId="{C897FAF5-A880-4A93-97D1-8C879B18885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0.654" v="19380"/>
          <ac:graphicFrameMkLst>
            <pc:docMk/>
            <pc:sldMk cId="1209066160" sldId="314"/>
            <ac:graphicFrameMk id="39" creationId="{3116D2C2-90E7-47AE-809F-1CA24EED7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4.751" v="19810"/>
          <ac:graphicFrameMkLst>
            <pc:docMk/>
            <pc:sldMk cId="1209066160" sldId="314"/>
            <ac:graphicFrameMk id="40" creationId="{B3F4F09A-DC59-407E-87FA-237D36DC2FC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7.901" v="19942"/>
          <ac:graphicFrameMkLst>
            <pc:docMk/>
            <pc:sldMk cId="1209066160" sldId="314"/>
            <ac:graphicFrameMk id="54" creationId="{54EEDC25-B52A-4029-81C2-4AB1691C42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46.525" v="20050"/>
          <ac:graphicFrameMkLst>
            <pc:docMk/>
            <pc:sldMk cId="1209066160" sldId="314"/>
            <ac:graphicFrameMk id="55" creationId="{C022AD01-A3D6-4E03-849B-9674486B7B5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2:31:46.466" v="18318" actId="478"/>
          <ac:graphicFrameMkLst>
            <pc:docMk/>
            <pc:sldMk cId="1209066160" sldId="314"/>
            <ac:graphicFrameMk id="56" creationId="{1E443AE1-BFC8-4757-A448-5326EF008DE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2.148" v="20145"/>
          <ac:graphicFrameMkLst>
            <pc:docMk/>
            <pc:sldMk cId="1209066160" sldId="314"/>
            <ac:graphicFrameMk id="58" creationId="{93AD958D-3CAE-4B10-9A98-65D42FC2073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4.882" v="20242"/>
          <ac:graphicFrameMkLst>
            <pc:docMk/>
            <pc:sldMk cId="1209066160" sldId="314"/>
            <ac:graphicFrameMk id="60" creationId="{56141F9A-2FC1-4512-8227-03697200AED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08.106" v="20406"/>
          <ac:graphicFrameMkLst>
            <pc:docMk/>
            <pc:sldMk cId="1209066160" sldId="314"/>
            <ac:graphicFrameMk id="62" creationId="{D31FFCB1-7519-4922-A1AC-3D831F46C3A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2.156" v="20570"/>
          <ac:graphicFrameMkLst>
            <pc:docMk/>
            <pc:sldMk cId="1209066160" sldId="314"/>
            <ac:graphicFrameMk id="64" creationId="{CD167BC5-892F-494C-97A7-9929C217281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6.576" v="20736"/>
          <ac:graphicFrameMkLst>
            <pc:docMk/>
            <pc:sldMk cId="1209066160" sldId="314"/>
            <ac:graphicFrameMk id="66" creationId="{9959E02A-9074-46AB-A706-C3A1E1DAC8F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0.797" v="20848"/>
          <ac:graphicFrameMkLst>
            <pc:docMk/>
            <pc:sldMk cId="1209066160" sldId="314"/>
            <ac:graphicFrameMk id="68" creationId="{2F655254-64F4-4407-A68F-A8D012E9D88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3.862" v="20959"/>
          <ac:graphicFrameMkLst>
            <pc:docMk/>
            <pc:sldMk cId="1209066160" sldId="314"/>
            <ac:graphicFrameMk id="70" creationId="{84AF67BC-B75C-4015-A9EE-E72E37D81B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1.874" v="21011"/>
          <ac:graphicFrameMkLst>
            <pc:docMk/>
            <pc:sldMk cId="1209066160" sldId="314"/>
            <ac:graphicFrameMk id="73" creationId="{CF31B8F7-6CE3-45CB-A4B5-C24C7BFC89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3.907" v="21059"/>
          <ac:graphicFrameMkLst>
            <pc:docMk/>
            <pc:sldMk cId="1209066160" sldId="314"/>
            <ac:graphicFrameMk id="74" creationId="{0A46E8F0-E146-4DC3-BC5D-8C135D9237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9.620" v="21123"/>
          <ac:graphicFrameMkLst>
            <pc:docMk/>
            <pc:sldMk cId="1209066160" sldId="314"/>
            <ac:graphicFrameMk id="75" creationId="{D68C033C-4014-42D3-ABE2-E14BA81508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52.420" v="21187"/>
          <ac:graphicFrameMkLst>
            <pc:docMk/>
            <pc:sldMk cId="1209066160" sldId="314"/>
            <ac:graphicFrameMk id="76" creationId="{232E4BC4-1178-449F-8C8F-00F88DE1B8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10.363" v="21384"/>
          <ac:graphicFrameMkLst>
            <pc:docMk/>
            <pc:sldMk cId="1209066160" sldId="314"/>
            <ac:graphicFrameMk id="77" creationId="{2B25647D-0F97-494F-8B4D-AB75BC26A7E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21.830" v="21494"/>
          <ac:graphicFrameMkLst>
            <pc:docMk/>
            <pc:sldMk cId="1209066160" sldId="314"/>
            <ac:graphicFrameMk id="83" creationId="{A40AD56F-1E35-491A-A05C-E9E81F4F485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38.344" v="21584"/>
          <ac:graphicFrameMkLst>
            <pc:docMk/>
            <pc:sldMk cId="1209066160" sldId="314"/>
            <ac:graphicFrameMk id="85" creationId="{7887D514-BDAC-42DF-A73F-9034DD4C6B0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0.832" v="21733"/>
          <ac:graphicFrameMkLst>
            <pc:docMk/>
            <pc:sldMk cId="1209066160" sldId="314"/>
            <ac:graphicFrameMk id="86" creationId="{D3A5C362-6036-483E-9DEE-5ABBD83AD58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4.667" v="21828"/>
          <ac:graphicFrameMkLst>
            <pc:docMk/>
            <pc:sldMk cId="1209066160" sldId="314"/>
            <ac:graphicFrameMk id="89" creationId="{A4B57C95-6327-4896-B3D8-CA620FF1451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6:06.927" v="21939"/>
          <ac:graphicFrameMkLst>
            <pc:docMk/>
            <pc:sldMk cId="1209066160" sldId="314"/>
            <ac:graphicFrameMk id="91" creationId="{FA5999EB-D476-4F05-B1E1-887AF08914C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31.110" v="29280"/>
          <ac:graphicFrameMkLst>
            <pc:docMk/>
            <pc:sldMk cId="1209066160" sldId="314"/>
            <ac:graphicFrameMk id="92" creationId="{52D9430C-08FF-4BCD-9EDD-46B1EC0A1AEC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6:39.831" v="23641"/>
          <ac:graphicFrameMkLst>
            <pc:docMk/>
            <pc:sldMk cId="1209066160" sldId="314"/>
            <ac:graphicFrameMk id="105" creationId="{C137CF0A-BD11-4E36-89A5-FCC9F7CC49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4.234" v="29664"/>
          <ac:graphicFrameMkLst>
            <pc:docMk/>
            <pc:sldMk cId="1209066160" sldId="314"/>
            <ac:graphicFrameMk id="112" creationId="{36189C85-6030-48DD-857E-93F6E7A2F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7.457" v="28148"/>
          <ac:graphicFrameMkLst>
            <pc:docMk/>
            <pc:sldMk cId="1209066160" sldId="314"/>
            <ac:graphicFrameMk id="113" creationId="{F265DABF-B68B-4B46-A68D-E69E9B573C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2.396" v="28125"/>
          <ac:graphicFrameMkLst>
            <pc:docMk/>
            <pc:sldMk cId="1209066160" sldId="314"/>
            <ac:graphicFrameMk id="116" creationId="{799F17A6-6A1E-4D3C-AACB-668967E10AC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1.325" v="28022"/>
          <ac:graphicFrameMkLst>
            <pc:docMk/>
            <pc:sldMk cId="1209066160" sldId="314"/>
            <ac:graphicFrameMk id="122" creationId="{ECDE5BE6-D0BD-49C7-B326-1ED26F60AA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29.765" v="27684"/>
          <ac:graphicFrameMkLst>
            <pc:docMk/>
            <pc:sldMk cId="1209066160" sldId="314"/>
            <ac:graphicFrameMk id="136" creationId="{6A87314C-11FF-43F3-9733-75FC1684B17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8:28.500" v="26984"/>
          <ac:graphicFrameMkLst>
            <pc:docMk/>
            <pc:sldMk cId="1209066160" sldId="314"/>
            <ac:graphicFrameMk id="143" creationId="{1847D280-9CF8-4EB8-98D5-C0A90297AE3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5.173" v="29735"/>
          <ac:graphicFrameMkLst>
            <pc:docMk/>
            <pc:sldMk cId="1209066160" sldId="314"/>
            <ac:graphicFrameMk id="147" creationId="{65198AE7-2C07-4376-8AED-B8847F8AD09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8.006" v="29919"/>
          <ac:graphicFrameMkLst>
            <pc:docMk/>
            <pc:sldMk cId="1209066160" sldId="314"/>
            <ac:graphicFrameMk id="148" creationId="{30F699E1-2A50-4E40-A745-FA08106820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09.057" v="30078"/>
          <ac:graphicFrameMkLst>
            <pc:docMk/>
            <pc:sldMk cId="1209066160" sldId="314"/>
            <ac:graphicFrameMk id="150" creationId="{8A9DB4BC-F640-4ED2-90C3-DB1886CBD86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28.786" v="30138"/>
          <ac:graphicFrameMkLst>
            <pc:docMk/>
            <pc:sldMk cId="1209066160" sldId="314"/>
            <ac:graphicFrameMk id="153" creationId="{BFC4ACAE-8BB9-46A6-8DB2-7E1C27BA23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43.325" v="30194"/>
          <ac:graphicFrameMkLst>
            <pc:docMk/>
            <pc:sldMk cId="1209066160" sldId="314"/>
            <ac:graphicFrameMk id="154" creationId="{0F1C605E-CD63-415E-B707-85BA3BE2F8A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10.558" v="30823"/>
          <ac:graphicFrameMkLst>
            <pc:docMk/>
            <pc:sldMk cId="1209066160" sldId="314"/>
            <ac:graphicFrameMk id="155" creationId="{3C24C1D7-2E32-45AA-9BA5-B80B386440C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41:02.949" v="30673"/>
          <ac:graphicFrameMkLst>
            <pc:docMk/>
            <pc:sldMk cId="1209066160" sldId="314"/>
            <ac:graphicFrameMk id="163" creationId="{5A991D42-1E9A-4B3E-91FF-FA1D9118B2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0.214" v="30881"/>
          <ac:graphicFrameMkLst>
            <pc:docMk/>
            <pc:sldMk cId="1209066160" sldId="314"/>
            <ac:graphicFrameMk id="165" creationId="{E24CBB68-0854-4F42-8CED-8E6D124AEF6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6.905" v="30940"/>
          <ac:graphicFrameMkLst>
            <pc:docMk/>
            <pc:sldMk cId="1209066160" sldId="314"/>
            <ac:graphicFrameMk id="166" creationId="{7B73FA68-EAE8-45A7-AA05-F4FC4A7241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2.721" v="31002"/>
          <ac:graphicFrameMkLst>
            <pc:docMk/>
            <pc:sldMk cId="1209066160" sldId="314"/>
            <ac:graphicFrameMk id="167" creationId="{56153AF0-9CD2-4567-A557-8D6C413A68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4.230" v="31066"/>
          <ac:graphicFrameMkLst>
            <pc:docMk/>
            <pc:sldMk cId="1209066160" sldId="314"/>
            <ac:graphicFrameMk id="168" creationId="{057F3688-09A9-4840-BE76-F07786F5D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5.066" v="31125"/>
          <ac:graphicFrameMkLst>
            <pc:docMk/>
            <pc:sldMk cId="1209066160" sldId="314"/>
            <ac:graphicFrameMk id="169" creationId="{4B10C688-E799-4A8E-84F1-6175B29FD0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6.105" v="31192"/>
          <ac:graphicFrameMkLst>
            <pc:docMk/>
            <pc:sldMk cId="1209066160" sldId="314"/>
            <ac:graphicFrameMk id="170" creationId="{6B982944-9472-44ED-A964-0EF0402EF91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7.617" v="31249"/>
          <ac:graphicFrameMkLst>
            <pc:docMk/>
            <pc:sldMk cId="1209066160" sldId="314"/>
            <ac:graphicFrameMk id="171" creationId="{F780908E-977B-4080-9AEB-E8391F0898E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05.818" v="31303"/>
          <ac:graphicFrameMkLst>
            <pc:docMk/>
            <pc:sldMk cId="1209066160" sldId="314"/>
            <ac:graphicFrameMk id="172" creationId="{6C598F8E-0DFC-4FA1-A842-34A315AA75F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19.760" v="31357"/>
          <ac:graphicFrameMkLst>
            <pc:docMk/>
            <pc:sldMk cId="1209066160" sldId="314"/>
            <ac:graphicFrameMk id="173" creationId="{65F473C7-874A-4E1B-8379-665F691DF7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29.894" v="31512"/>
          <ac:graphicFrameMkLst>
            <pc:docMk/>
            <pc:sldMk cId="1209066160" sldId="314"/>
            <ac:graphicFrameMk id="174" creationId="{65FBE99E-63A9-459A-9C16-FDB7905EF88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33.733" v="31573"/>
          <ac:graphicFrameMkLst>
            <pc:docMk/>
            <pc:sldMk cId="1209066160" sldId="314"/>
            <ac:graphicFrameMk id="177" creationId="{6EBBC0C4-3AEC-4D07-A17E-B985F9214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1.521" v="31674"/>
          <ac:graphicFrameMkLst>
            <pc:docMk/>
            <pc:sldMk cId="1209066160" sldId="314"/>
            <ac:graphicFrameMk id="178" creationId="{C8984B39-F9A3-4BBB-8C05-5A3A7D39516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7.484" v="31838"/>
          <ac:graphicFrameMkLst>
            <pc:docMk/>
            <pc:sldMk cId="1209066160" sldId="314"/>
            <ac:graphicFrameMk id="180" creationId="{F04D66B2-1003-4889-AE06-88109CF48F6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2.409" v="31901"/>
          <ac:graphicFrameMkLst>
            <pc:docMk/>
            <pc:sldMk cId="1209066160" sldId="314"/>
            <ac:graphicFrameMk id="183" creationId="{0E941ED2-CD95-4EA5-8975-93908897F44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4.311" v="32066"/>
          <ac:graphicFrameMkLst>
            <pc:docMk/>
            <pc:sldMk cId="1209066160" sldId="314"/>
            <ac:graphicFrameMk id="184" creationId="{759FFAD5-CBCA-463E-8430-94A48661E94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5.586" v="32126"/>
          <ac:graphicFrameMkLst>
            <pc:docMk/>
            <pc:sldMk cId="1209066160" sldId="314"/>
            <ac:graphicFrameMk id="187" creationId="{6AA8E180-F904-40F3-AD8A-3CEE2FD473A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6.764" v="32187"/>
          <ac:graphicFrameMkLst>
            <pc:docMk/>
            <pc:sldMk cId="1209066160" sldId="314"/>
            <ac:graphicFrameMk id="188" creationId="{2C91FF6B-2FC1-4C45-86B1-6215812A86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9.555" v="32352"/>
          <ac:graphicFrameMkLst>
            <pc:docMk/>
            <pc:sldMk cId="1209066160" sldId="314"/>
            <ac:graphicFrameMk id="189" creationId="{A1C222ED-CFD8-4581-A102-10796A4306C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0.532" v="32415"/>
          <ac:graphicFrameMkLst>
            <pc:docMk/>
            <pc:sldMk cId="1209066160" sldId="314"/>
            <ac:graphicFrameMk id="192" creationId="{2AFC554E-AC15-48E5-AC27-E2BC349308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3.500" v="32580"/>
          <ac:graphicFrameMkLst>
            <pc:docMk/>
            <pc:sldMk cId="1209066160" sldId="314"/>
            <ac:graphicFrameMk id="193" creationId="{796BD0A6-7E17-45DE-A9C0-B4F4A34088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4.367" v="32643"/>
          <ac:graphicFrameMkLst>
            <pc:docMk/>
            <pc:sldMk cId="1209066160" sldId="314"/>
            <ac:graphicFrameMk id="196" creationId="{FA2D9583-2077-44C6-AEC3-794F8A78428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8.098" v="32808"/>
          <ac:graphicFrameMkLst>
            <pc:docMk/>
            <pc:sldMk cId="1209066160" sldId="314"/>
            <ac:graphicFrameMk id="197" creationId="{9D96204C-F643-4A1A-AF1F-CE1EB45E3E0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9.033" v="32871"/>
          <ac:graphicFrameMkLst>
            <pc:docMk/>
            <pc:sldMk cId="1209066160" sldId="314"/>
            <ac:graphicFrameMk id="200" creationId="{76E28499-77EF-4C6E-84CB-6DC6B86288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11.345" v="32930"/>
          <ac:graphicFrameMkLst>
            <pc:docMk/>
            <pc:sldMk cId="1209066160" sldId="314"/>
            <ac:graphicFrameMk id="201" creationId="{4717A4B4-B39C-416A-9CE2-F3CB6AE006B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39.677" v="33035"/>
          <ac:graphicFrameMkLst>
            <pc:docMk/>
            <pc:sldMk cId="1209066160" sldId="314"/>
            <ac:graphicFrameMk id="202" creationId="{4C663E9B-6533-42FB-98C9-73035EE961B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2.464" v="36332"/>
          <ac:graphicFrameMkLst>
            <pc:docMk/>
            <pc:sldMk cId="1209066160" sldId="314"/>
            <ac:graphicFrameMk id="204" creationId="{F08A77E8-A4EB-4AB1-B1D7-596770C008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8.471" v="36400"/>
          <ac:graphicFrameMkLst>
            <pc:docMk/>
            <pc:sldMk cId="1209066160" sldId="314"/>
            <ac:graphicFrameMk id="205" creationId="{F788C315-51B9-4418-82B4-D8785483AB5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9.306" v="36459"/>
          <ac:graphicFrameMkLst>
            <pc:docMk/>
            <pc:sldMk cId="1209066160" sldId="314"/>
            <ac:graphicFrameMk id="206" creationId="{804B41DB-DAC8-4FF3-BF0F-DCB6EF62FC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0.053" v="36518"/>
          <ac:graphicFrameMkLst>
            <pc:docMk/>
            <pc:sldMk cId="1209066160" sldId="314"/>
            <ac:graphicFrameMk id="207" creationId="{4A6BE2B9-2E68-4C40-8BDA-5D5A5B0A81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1.561" v="36579"/>
          <ac:graphicFrameMkLst>
            <pc:docMk/>
            <pc:sldMk cId="1209066160" sldId="314"/>
            <ac:graphicFrameMk id="208" creationId="{638D7CD7-BE70-4E66-80BB-CB0C45BA74D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2.844" v="36638"/>
          <ac:graphicFrameMkLst>
            <pc:docMk/>
            <pc:sldMk cId="1209066160" sldId="314"/>
            <ac:graphicFrameMk id="209" creationId="{812EB7DC-0E5C-4F73-BC44-72422E70E7E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4:53:02.922" v="36660"/>
          <ac:graphicFrameMkLst>
            <pc:docMk/>
            <pc:sldMk cId="1209066160" sldId="314"/>
            <ac:graphicFrameMk id="210" creationId="{1F9F895A-560D-4311-B0EC-E52F8532BF8B}"/>
          </ac:graphicFrameMkLst>
        </pc:graphicFrameChg>
        <pc:picChg chg="del">
          <ac:chgData name="Wind-Larsen, Taus (SGRE OF TE NAC TD SYC)" userId="909f4c56-f0bd-48e2-b5e6-c85fd07560b7" providerId="ADAL" clId="{CAC997D2-2045-4FBD-88AA-2930340D2AF4}" dt="2022-02-11T10:54:21.641" v="18284" actId="478"/>
          <ac:picMkLst>
            <pc:docMk/>
            <pc:sldMk cId="1209066160" sldId="314"/>
            <ac:picMk id="11" creationId="{9DDA237C-D920-4F87-9BB7-5E8793335B57}"/>
          </ac:picMkLst>
        </pc:picChg>
        <pc:cxnChg chg="del mod">
          <ac:chgData name="Wind-Larsen, Taus (SGRE OF TE NAC TD SYC)" userId="909f4c56-f0bd-48e2-b5e6-c85fd07560b7" providerId="ADAL" clId="{CAC997D2-2045-4FBD-88AA-2930340D2AF4}" dt="2022-02-11T11:10:25.880" v="18314" actId="478"/>
          <ac:cxnSpMkLst>
            <pc:docMk/>
            <pc:sldMk cId="1209066160" sldId="314"/>
            <ac:cxnSpMk id="49" creationId="{54DDB341-378D-460C-80AD-741BD92E4A27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1.771" v="18311" actId="478"/>
          <ac:cxnSpMkLst>
            <pc:docMk/>
            <pc:sldMk cId="1209066160" sldId="314"/>
            <ac:cxnSpMk id="50" creationId="{BA97824F-D3E2-467D-94F3-B16E180CC27A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8.045" v="18316" actId="478"/>
          <ac:cxnSpMkLst>
            <pc:docMk/>
            <pc:sldMk cId="1209066160" sldId="314"/>
            <ac:cxnSpMk id="51" creationId="{44DE44A3-D546-4083-ACA0-75CE4439785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2" v="36662"/>
          <ac:cxnSpMkLst>
            <pc:docMk/>
            <pc:sldMk cId="1209066160" sldId="314"/>
            <ac:cxnSpMk id="80" creationId="{2032FEFB-C5FB-42FB-BAEA-44B4B7259EF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5" v="36664"/>
          <ac:cxnSpMkLst>
            <pc:docMk/>
            <pc:sldMk cId="1209066160" sldId="314"/>
            <ac:cxnSpMk id="81" creationId="{7021908F-59F2-4B5E-8BF9-6817B069FB09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6" v="36666"/>
          <ac:cxnSpMkLst>
            <pc:docMk/>
            <pc:sldMk cId="1209066160" sldId="314"/>
            <ac:cxnSpMk id="82" creationId="{259E0AE8-F58F-4CC5-9FC4-712F6CEA1C13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38:28.500" v="26984"/>
          <ac:cxnSpMkLst>
            <pc:docMk/>
            <pc:sldMk cId="1209066160" sldId="314"/>
            <ac:cxnSpMk id="144" creationId="{7B4C4C06-F4F9-4141-AE7F-A4267BC91DD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8" creationId="{42BF5FF2-A9BA-4CA2-9751-43CDC655980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9" creationId="{3578E2C3-76D0-4A75-8A9E-16CA2186A3F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0" creationId="{F8FE1E24-BB34-473C-9EF8-ACCA60BA28C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1" creationId="{A1531AEE-B607-4CD3-8C9D-2B70E46DE334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2" creationId="{D2F718A8-5E83-4817-8DAA-BDCB949BE5A2}"/>
          </ac:cxnSpMkLst>
        </pc:cxnChg>
      </pc:sldChg>
      <pc:sldChg chg="modSp mod ord">
        <pc:chgData name="Wind-Larsen, Taus (SGRE OF TE NAC TD SYC)" userId="909f4c56-f0bd-48e2-b5e6-c85fd07560b7" providerId="ADAL" clId="{CAC997D2-2045-4FBD-88AA-2930340D2AF4}" dt="2022-02-11T13:57:48.150" v="35950" actId="20577"/>
        <pc:sldMkLst>
          <pc:docMk/>
          <pc:sldMk cId="100653347" sldId="315"/>
        </pc:sldMkLst>
        <pc:spChg chg="mod">
          <ac:chgData name="Wind-Larsen, Taus (SGRE OF TE NAC TD SYC)" userId="909f4c56-f0bd-48e2-b5e6-c85fd07560b7" providerId="ADAL" clId="{CAC997D2-2045-4FBD-88AA-2930340D2AF4}" dt="2022-02-11T13:57:48.150" v="35950" actId="20577"/>
          <ac:spMkLst>
            <pc:docMk/>
            <pc:sldMk cId="100653347" sldId="315"/>
            <ac:spMk id="4" creationId="{A2CA8F2D-3D41-43EB-9407-356EAAB1F6A4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6:30.421" v="438" actId="47"/>
        <pc:sldMkLst>
          <pc:docMk/>
          <pc:sldMk cId="2536122990" sldId="316"/>
        </pc:sldMkLst>
      </pc:sldChg>
      <pc:sldChg chg="del">
        <pc:chgData name="Wind-Larsen, Taus (SGRE OF TE NAC TD SYC)" userId="909f4c56-f0bd-48e2-b5e6-c85fd07560b7" providerId="ADAL" clId="{CAC997D2-2045-4FBD-88AA-2930340D2AF4}" dt="2022-02-11T08:36:26.173" v="437" actId="47"/>
        <pc:sldMkLst>
          <pc:docMk/>
          <pc:sldMk cId="222139734" sldId="317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577488301" sldId="318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2" creationId="{781BBDC9-2DC6-4959-AC3D-49A5DCB05DA7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3" creationId="{08452CCF-4A27-488A-AAF4-424933CFC92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35" creationId="{4B74BB55-8517-4CFE-9389-81D0E6F81F00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21" creationId="{6CC7770B-E4E1-42D6-9437-DAA4A3A9E659}"/>
          </ac:grpSpMkLst>
        </pc:gr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37" creationId="{543190CD-45FC-4DE0-B596-17D4DE53E972}"/>
          </ac:grpSpMkLst>
        </pc:grpChg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51751657" sldId="319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4" creationId="{9A212F8F-D812-4A16-BE82-F3500DE3217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5" creationId="{D2CF1D1B-04ED-443D-A9FE-68BF8859BDD6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7:50.685" v="448" actId="47"/>
        <pc:sldMkLst>
          <pc:docMk/>
          <pc:sldMk cId="1610040041" sldId="320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09:58:10.055" v="1054" actId="47"/>
        <pc:sldMkLst>
          <pc:docMk/>
          <pc:sldMk cId="927270867" sldId="321"/>
        </pc:sldMkLst>
        <pc:spChg chg="mod">
          <ac:chgData name="Wind-Larsen, Taus (SGRE OF TE NAC TD SYC)" userId="909f4c56-f0bd-48e2-b5e6-c85fd07560b7" providerId="ADAL" clId="{CAC997D2-2045-4FBD-88AA-2930340D2AF4}" dt="2022-02-11T08:30:09.277" v="307" actId="20577"/>
          <ac:spMkLst>
            <pc:docMk/>
            <pc:sldMk cId="927270867" sldId="321"/>
            <ac:spMk id="9" creationId="{8316C5AD-B4DA-4900-89A4-B3DE30EFEBFE}"/>
          </ac:spMkLst>
        </pc:spChg>
      </pc:sldChg>
      <pc:sldChg chg="new add del">
        <pc:chgData name="Wind-Larsen, Taus (SGRE OF TE NAC TD SYC)" userId="909f4c56-f0bd-48e2-b5e6-c85fd07560b7" providerId="ADAL" clId="{CAC997D2-2045-4FBD-88AA-2930340D2AF4}" dt="2022-02-11T08:27:17.652" v="240" actId="47"/>
        <pc:sldMkLst>
          <pc:docMk/>
          <pc:sldMk cId="1794614940" sldId="321"/>
        </pc:sldMkLst>
      </pc:sldChg>
      <pc:sldChg chg="addSp delSp modSp add mod ord">
        <pc:chgData name="Wind-Larsen, Taus (SGRE OF TE NAC TD SYC)" userId="909f4c56-f0bd-48e2-b5e6-c85fd07560b7" providerId="ADAL" clId="{CAC997D2-2045-4FBD-88AA-2930340D2AF4}" dt="2022-02-11T13:28:04.579" v="34254" actId="20577"/>
        <pc:sldMkLst>
          <pc:docMk/>
          <pc:sldMk cId="558325371" sldId="322"/>
        </pc:sldMkLst>
        <pc:spChg chg="mod">
          <ac:chgData name="Wind-Larsen, Taus (SGRE OF TE NAC TD SYC)" userId="909f4c56-f0bd-48e2-b5e6-c85fd07560b7" providerId="ADAL" clId="{CAC997D2-2045-4FBD-88AA-2930340D2AF4}" dt="2022-02-11T13:28:02.244" v="34211" actId="948"/>
          <ac:spMkLst>
            <pc:docMk/>
            <pc:sldMk cId="558325371" sldId="322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1.014" v="34203"/>
          <ac:spMkLst>
            <pc:docMk/>
            <pc:sldMk cId="558325371" sldId="322"/>
            <ac:spMk id="3" creationId="{B81D3E31-681E-4A67-88F0-4285A353E426}"/>
          </ac:spMkLst>
        </pc:spChg>
        <pc:spChg chg="mod">
          <ac:chgData name="Wind-Larsen, Taus (SGRE OF TE NAC TD SYC)" userId="909f4c56-f0bd-48e2-b5e6-c85fd07560b7" providerId="ADAL" clId="{CAC997D2-2045-4FBD-88AA-2930340D2AF4}" dt="2022-02-11T13:28:04.579" v="34254" actId="20577"/>
          <ac:spMkLst>
            <pc:docMk/>
            <pc:sldMk cId="558325371" sldId="322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2.336" v="34250"/>
          <ac:spMkLst>
            <pc:docMk/>
            <pc:sldMk cId="558325371" sldId="322"/>
            <ac:spMk id="6" creationId="{F3D4444E-E089-49B8-9ED8-601E5386611E}"/>
          </ac:spMkLst>
        </pc:spChg>
        <pc:spChg chg="del">
          <ac:chgData name="Wind-Larsen, Taus (SGRE OF TE NAC TD SYC)" userId="909f4c56-f0bd-48e2-b5e6-c85fd07560b7" providerId="ADAL" clId="{CAC997D2-2045-4FBD-88AA-2930340D2AF4}" dt="2022-02-11T08:34:25.840" v="397" actId="478"/>
          <ac:spMkLst>
            <pc:docMk/>
            <pc:sldMk cId="558325371" sldId="322"/>
            <ac:spMk id="9" creationId="{9E13D2E9-3448-4B05-A060-5754F247B52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8:02.339" v="34252"/>
          <ac:graphicFrameMkLst>
            <pc:docMk/>
            <pc:sldMk cId="558325371" sldId="322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33:23.375" v="34552"/>
        <pc:sldMkLst>
          <pc:docMk/>
          <pc:sldMk cId="4087205575" sldId="323"/>
        </pc:sldMkLst>
        <pc:spChg chg="mod">
          <ac:chgData name="Wind-Larsen, Taus (SGRE OF TE NAC TD SYC)" userId="909f4c56-f0bd-48e2-b5e6-c85fd07560b7" providerId="ADAL" clId="{CAC997D2-2045-4FBD-88AA-2930340D2AF4}" dt="2022-02-11T13:33:23.227" v="34511" actId="948"/>
          <ac:spMkLst>
            <pc:docMk/>
            <pc:sldMk cId="4087205575" sldId="323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5.800" v="34314"/>
          <ac:spMkLst>
            <pc:docMk/>
            <pc:sldMk cId="4087205575" sldId="323"/>
            <ac:spMk id="3" creationId="{F04D8E1B-81A8-47CE-8600-C0E1BFD4D8ED}"/>
          </ac:spMkLst>
        </pc:spChg>
        <pc:spChg chg="mod">
          <ac:chgData name="Wind-Larsen, Taus (SGRE OF TE NAC TD SYC)" userId="909f4c56-f0bd-48e2-b5e6-c85fd07560b7" providerId="ADAL" clId="{CAC997D2-2045-4FBD-88AA-2930340D2AF4}" dt="2022-02-11T13:33:10.211" v="34264" actId="20577"/>
          <ac:spMkLst>
            <pc:docMk/>
            <pc:sldMk cId="4087205575" sldId="323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7.259" v="34360"/>
          <ac:spMkLst>
            <pc:docMk/>
            <pc:sldMk cId="4087205575" sldId="323"/>
            <ac:spMk id="6" creationId="{2420D1F7-3E5F-4FBD-8A64-A35E76FDF2A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8.973" v="34411"/>
          <ac:spMkLst>
            <pc:docMk/>
            <pc:sldMk cId="4087205575" sldId="323"/>
            <ac:spMk id="8" creationId="{3C5FDE72-C3E2-4672-92BD-F73A6D6D43E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9.736" v="34455"/>
          <ac:spMkLst>
            <pc:docMk/>
            <pc:sldMk cId="4087205575" sldId="323"/>
            <ac:spMk id="9" creationId="{3080BAE0-1CD9-4DBE-945D-1BEBBB7C7A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1.551" v="34502"/>
          <ac:spMkLst>
            <pc:docMk/>
            <pc:sldMk cId="4087205575" sldId="323"/>
            <ac:spMk id="10" creationId="{C9715C9B-B587-4591-AB09-3CFBF2779F6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3.375" v="34550"/>
          <ac:spMkLst>
            <pc:docMk/>
            <pc:sldMk cId="4087205575" sldId="323"/>
            <ac:spMk id="11" creationId="{B5B11D21-18CE-4457-B201-2F3A110FC672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33:23.375" v="34552"/>
          <ac:graphicFrameMkLst>
            <pc:docMk/>
            <pc:sldMk cId="4087205575" sldId="323"/>
            <ac:graphicFrameMk id="7" creationId="{C2E1FD7A-6B81-4A2C-A69F-E9E0FBC2131B}"/>
          </ac:graphicFrameMkLst>
        </pc:graphicFrameChg>
      </pc:sldChg>
      <pc:sldChg chg="modSp add del mod">
        <pc:chgData name="Wind-Larsen, Taus (SGRE OF TE NAC TD SYC)" userId="909f4c56-f0bd-48e2-b5e6-c85fd07560b7" providerId="ADAL" clId="{CAC997D2-2045-4FBD-88AA-2930340D2AF4}" dt="2022-02-11T13:33:45.700" v="34554" actId="47"/>
        <pc:sldMkLst>
          <pc:docMk/>
          <pc:sldMk cId="3936505600" sldId="324"/>
        </pc:sldMkLst>
        <pc:spChg chg="mod">
          <ac:chgData name="Wind-Larsen, Taus (SGRE OF TE NAC TD SYC)" userId="909f4c56-f0bd-48e2-b5e6-c85fd07560b7" providerId="ADAL" clId="{CAC997D2-2045-4FBD-88AA-2930340D2AF4}" dt="2022-02-11T08:37:00.141" v="445" actId="113"/>
          <ac:spMkLst>
            <pc:docMk/>
            <pc:sldMk cId="3936505600" sldId="324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26.042" v="34864" actId="47"/>
        <pc:sldMkLst>
          <pc:docMk/>
          <pc:sldMk cId="3380896902" sldId="325"/>
        </pc:sldMkLst>
        <pc:spChg chg="mod">
          <ac:chgData name="Wind-Larsen, Taus (SGRE OF TE NAC TD SYC)" userId="909f4c56-f0bd-48e2-b5e6-c85fd07560b7" providerId="ADAL" clId="{CAC997D2-2045-4FBD-88AA-2930340D2AF4}" dt="2022-02-11T08:38:57.520" v="470" actId="114"/>
          <ac:spMkLst>
            <pc:docMk/>
            <pc:sldMk cId="3380896902" sldId="325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2:08.304" v="34868" actId="47"/>
        <pc:sldMkLst>
          <pc:docMk/>
          <pc:sldMk cId="1105608203" sldId="326"/>
        </pc:sldMkLst>
        <pc:spChg chg="mod">
          <ac:chgData name="Wind-Larsen, Taus (SGRE OF TE NAC TD SYC)" userId="909f4c56-f0bd-48e2-b5e6-c85fd07560b7" providerId="ADAL" clId="{CAC997D2-2045-4FBD-88AA-2930340D2AF4}" dt="2022-02-11T13:41:44.173" v="34867" actId="113"/>
          <ac:spMkLst>
            <pc:docMk/>
            <pc:sldMk cId="1105608203" sldId="326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30.065" v="34865" actId="47"/>
        <pc:sldMkLst>
          <pc:docMk/>
          <pc:sldMk cId="1992305511" sldId="327"/>
        </pc:sldMkLst>
        <pc:spChg chg="mod">
          <ac:chgData name="Wind-Larsen, Taus (SGRE OF TE NAC TD SYC)" userId="909f4c56-f0bd-48e2-b5e6-c85fd07560b7" providerId="ADAL" clId="{CAC997D2-2045-4FBD-88AA-2930340D2AF4}" dt="2022-02-11T08:46:01.484" v="559" actId="113"/>
          <ac:spMkLst>
            <pc:docMk/>
            <pc:sldMk cId="1992305511" sldId="327"/>
            <ac:spMk id="9" creationId="{37637F06-2878-4AD0-9DEB-853E9FA19C8F}"/>
          </ac:spMkLst>
        </pc:spChg>
      </pc:sldChg>
      <pc:sldChg chg="add del">
        <pc:chgData name="Wind-Larsen, Taus (SGRE OF TE NAC TD SYC)" userId="909f4c56-f0bd-48e2-b5e6-c85fd07560b7" providerId="ADAL" clId="{CAC997D2-2045-4FBD-88AA-2930340D2AF4}" dt="2022-02-11T09:27:20.720" v="935" actId="47"/>
        <pc:sldMkLst>
          <pc:docMk/>
          <pc:sldMk cId="1440746015" sldId="328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26:18.760" v="654" actId="113"/>
        <pc:sldMkLst>
          <pc:docMk/>
          <pc:sldMk cId="1371835148" sldId="329"/>
        </pc:sldMkLst>
        <pc:spChg chg="mod">
          <ac:chgData name="Wind-Larsen, Taus (SGRE OF TE NAC TD SYC)" userId="909f4c56-f0bd-48e2-b5e6-c85fd07560b7" providerId="ADAL" clId="{CAC997D2-2045-4FBD-88AA-2930340D2AF4}" dt="2022-02-11T09:26:18.760" v="654" actId="113"/>
          <ac:spMkLst>
            <pc:docMk/>
            <pc:sldMk cId="1371835148" sldId="329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7:56.557" v="1052" actId="114"/>
        <pc:sldMkLst>
          <pc:docMk/>
          <pc:sldMk cId="3839263946" sldId="330"/>
        </pc:sldMkLst>
        <pc:spChg chg="mod">
          <ac:chgData name="Wind-Larsen, Taus (SGRE OF TE NAC TD SYC)" userId="909f4c56-f0bd-48e2-b5e6-c85fd07560b7" providerId="ADAL" clId="{CAC997D2-2045-4FBD-88AA-2930340D2AF4}" dt="2022-02-11T09:57:56.557" v="1052" actId="114"/>
          <ac:spMkLst>
            <pc:docMk/>
            <pc:sldMk cId="3839263946" sldId="33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5:01:46.686" v="36687" actId="113"/>
        <pc:sldMkLst>
          <pc:docMk/>
          <pc:sldMk cId="4141118460" sldId="331"/>
        </pc:sldMkLst>
        <pc:spChg chg="mod">
          <ac:chgData name="Wind-Larsen, Taus (SGRE OF TE NAC TD SYC)" userId="909f4c56-f0bd-48e2-b5e6-c85fd07560b7" providerId="ADAL" clId="{CAC997D2-2045-4FBD-88AA-2930340D2AF4}" dt="2022-02-11T15:01:46.686" v="36687" actId="113"/>
          <ac:spMkLst>
            <pc:docMk/>
            <pc:sldMk cId="4141118460" sldId="33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8:46.163" v="1080" actId="113"/>
        <pc:sldMkLst>
          <pc:docMk/>
          <pc:sldMk cId="2768869850" sldId="332"/>
        </pc:sldMkLst>
        <pc:spChg chg="mod">
          <ac:chgData name="Wind-Larsen, Taus (SGRE OF TE NAC TD SYC)" userId="909f4c56-f0bd-48e2-b5e6-c85fd07560b7" providerId="ADAL" clId="{CAC997D2-2045-4FBD-88AA-2930340D2AF4}" dt="2022-02-11T09:58:46.163" v="1080" actId="113"/>
          <ac:spMkLst>
            <pc:docMk/>
            <pc:sldMk cId="2768869850" sldId="33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0:46.990" v="1152" actId="114"/>
        <pc:sldMkLst>
          <pc:docMk/>
          <pc:sldMk cId="13521793" sldId="333"/>
        </pc:sldMkLst>
        <pc:spChg chg="mod">
          <ac:chgData name="Wind-Larsen, Taus (SGRE OF TE NAC TD SYC)" userId="909f4c56-f0bd-48e2-b5e6-c85fd07560b7" providerId="ADAL" clId="{CAC997D2-2045-4FBD-88AA-2930340D2AF4}" dt="2022-02-11T10:00:46.990" v="1152" actId="114"/>
          <ac:spMkLst>
            <pc:docMk/>
            <pc:sldMk cId="13521793" sldId="333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1:54.072" v="1359" actId="14100"/>
        <pc:sldMkLst>
          <pc:docMk/>
          <pc:sldMk cId="1882169009" sldId="334"/>
        </pc:sldMkLst>
        <pc:spChg chg="mod">
          <ac:chgData name="Wind-Larsen, Taus (SGRE OF TE NAC TD SYC)" userId="909f4c56-f0bd-48e2-b5e6-c85fd07560b7" providerId="ADAL" clId="{CAC997D2-2045-4FBD-88AA-2930340D2AF4}" dt="2022-02-11T10:01:54.072" v="1359" actId="14100"/>
          <ac:spMkLst>
            <pc:docMk/>
            <pc:sldMk cId="1882169009" sldId="334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0:01:18.805" v="1325"/>
        <pc:sldMkLst>
          <pc:docMk/>
          <pc:sldMk cId="3047106097" sldId="335"/>
        </pc:sldMkLst>
        <pc:spChg chg="mod">
          <ac:chgData name="Wind-Larsen, Taus (SGRE OF TE NAC TD SYC)" userId="909f4c56-f0bd-48e2-b5e6-c85fd07560b7" providerId="ADAL" clId="{CAC997D2-2045-4FBD-88AA-2930340D2AF4}" dt="2022-02-11T10:01:18.743" v="1284" actId="948"/>
          <ac:spMkLst>
            <pc:docMk/>
            <pc:sldMk cId="3047106097" sldId="335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8" creationId="{A313AF80-BE30-4ACF-A4E7-90D38259DC3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2.479" v="1211"/>
          <ac:spMkLst>
            <pc:docMk/>
            <pc:sldMk cId="3047106097" sldId="335"/>
            <ac:spMk id="9" creationId="{775D17F7-08C9-4272-8C9A-C24B664A51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6.208" v="1271"/>
          <ac:spMkLst>
            <pc:docMk/>
            <pc:sldMk cId="3047106097" sldId="335"/>
            <ac:spMk id="10" creationId="{F57AF430-57C6-497E-8241-66125E274C8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8.805" v="1323"/>
          <ac:spMkLst>
            <pc:docMk/>
            <pc:sldMk cId="3047106097" sldId="335"/>
            <ac:spMk id="11" creationId="{59695724-BEF0-4EFF-B0D0-33EBC204E49D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1:18.805" v="1325"/>
          <ac:graphicFrameMkLst>
            <pc:docMk/>
            <pc:sldMk cId="3047106097" sldId="335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58:17.038" v="35959"/>
        <pc:sldMkLst>
          <pc:docMk/>
          <pc:sldMk cId="995067089" sldId="336"/>
        </pc:sldMkLst>
        <pc:spChg chg="mod ord">
          <ac:chgData name="Wind-Larsen, Taus (SGRE OF TE NAC TD SYC)" userId="909f4c56-f0bd-48e2-b5e6-c85fd07560b7" providerId="ADAL" clId="{CAC997D2-2045-4FBD-88AA-2930340D2AF4}" dt="2022-02-11T13:58:16.957" v="35955" actId="948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9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1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3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5"/>
          <ac:spMkLst>
            <pc:docMk/>
            <pc:sldMk cId="995067089" sldId="336"/>
            <ac:spMk id="6" creationId="{FB9CFFEC-C97F-4015-BB00-142261497CA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8"/>
          <ac:spMkLst>
            <pc:docMk/>
            <pc:sldMk cId="995067089" sldId="336"/>
            <ac:spMk id="8" creationId="{187BBAD4-56C8-4FCA-8C7D-82703B0EE0D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6" v="16527"/>
          <ac:spMkLst>
            <pc:docMk/>
            <pc:sldMk cId="995067089" sldId="336"/>
            <ac:spMk id="9" creationId="{25D0E781-6390-4B97-8D9C-FE343E77ABE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9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2:42.678" v="1806"/>
          <ac:spMkLst>
            <pc:docMk/>
            <pc:sldMk cId="995067089" sldId="336"/>
            <ac:spMk id="11" creationId="{0C7FD7ED-CCCF-40CE-81A0-8286011731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37" v="35953"/>
          <ac:spMkLst>
            <pc:docMk/>
            <pc:sldMk cId="995067089" sldId="336"/>
            <ac:spMk id="12" creationId="{8273F8FE-1ECB-4292-8C42-EE6EB0F9119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81" v="35957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06.327" v="2091"/>
          <ac:spMkLst>
            <pc:docMk/>
            <pc:sldMk cId="995067089" sldId="336"/>
            <ac:spMk id="14" creationId="{8B33691B-CF6F-4B03-8697-DC342FF4CAF8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5"/>
          <ac:spMkLst>
            <pc:docMk/>
            <pc:sldMk cId="995067089" sldId="336"/>
            <ac:spMk id="15" creationId="{38D4CA74-0128-4EAA-852F-032BEBB475C9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7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0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2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16.284" v="2262"/>
          <ac:spMkLst>
            <pc:docMk/>
            <pc:sldMk cId="995067089" sldId="336"/>
            <ac:spMk id="21" creationId="{F05765AD-4196-47B1-89A6-469AE6F938C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19.035" v="7129"/>
          <ac:spMkLst>
            <pc:docMk/>
            <pc:sldMk cId="995067089" sldId="336"/>
            <ac:spMk id="22" creationId="{B8AC73B8-369C-442D-B3CF-02B0761F7E9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26.289" v="7688"/>
          <ac:spMkLst>
            <pc:docMk/>
            <pc:sldMk cId="995067089" sldId="336"/>
            <ac:spMk id="23" creationId="{BAA3CE16-BDBF-4727-BEEF-E4F6D5B394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2.116" v="2413"/>
          <ac:spMkLst>
            <pc:docMk/>
            <pc:sldMk cId="995067089" sldId="336"/>
            <ac:spMk id="25" creationId="{FD82600F-3BBD-437D-8AAC-279F37D327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6.296" v="2598"/>
          <ac:spMkLst>
            <pc:docMk/>
            <pc:sldMk cId="995067089" sldId="336"/>
            <ac:spMk id="26" creationId="{953EE524-F3E1-4121-BCFD-4C49A6609C4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31.196" v="3363"/>
          <ac:spMkLst>
            <pc:docMk/>
            <pc:sldMk cId="995067089" sldId="336"/>
            <ac:spMk id="27" creationId="{47E03403-68AF-4DD2-9BA7-933E33195294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7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43.897" v="3517"/>
          <ac:spMkLst>
            <pc:docMk/>
            <pc:sldMk cId="995067089" sldId="336"/>
            <ac:spMk id="34" creationId="{2193B791-88D8-41FB-9471-9F972468BCBF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0:51.625" v="10073"/>
          <ac:spMkLst>
            <pc:docMk/>
            <pc:sldMk cId="995067089" sldId="336"/>
            <ac:spMk id="35" creationId="{7BFD16A6-30FC-46B3-94FA-6EBAB1E317C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40" creationId="{07EC499D-468B-4410-9ED3-B8A3DC222095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9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1"/>
          <ac:spMkLst>
            <pc:docMk/>
            <pc:sldMk cId="995067089" sldId="336"/>
            <ac:spMk id="46" creationId="{1E6101ED-100D-4B6A-8DA2-F3321B81720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50" creationId="{C1D1DC64-5F0B-4957-BA03-9BB13E20556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8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29" v="16598"/>
          <ac:spMkLst>
            <pc:docMk/>
            <pc:sldMk cId="995067089" sldId="336"/>
            <ac:spMk id="57" creationId="{B7694804-DC6A-43CE-9BD9-B104836C0EF3}"/>
          </ac:spMkLst>
        </pc:spChg>
        <pc:spChg chg="del mod">
          <ac:chgData name="Wind-Larsen, Taus (SGRE OF TE NAC TD SYC)" userId="909f4c56-f0bd-48e2-b5e6-c85fd07560b7" providerId="ADAL" clId="{CAC997D2-2045-4FBD-88AA-2930340D2AF4}" dt="2022-02-11T10:10:20.376" v="8346" actId="478"/>
          <ac:spMkLst>
            <pc:docMk/>
            <pc:sldMk cId="995067089" sldId="336"/>
            <ac:spMk id="58" creationId="{F7017BA5-8BA2-4C14-AF5B-603DF43B14B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381" v="1484"/>
          <ac:spMkLst>
            <pc:docMk/>
            <pc:sldMk cId="995067089" sldId="336"/>
            <ac:spMk id="59" creationId="{3E6CCD06-5DC3-4A55-9C94-B84D5A3DEE6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441" v="1537"/>
          <ac:spMkLst>
            <pc:docMk/>
            <pc:sldMk cId="995067089" sldId="336"/>
            <ac:spMk id="60" creationId="{15244E90-569B-4804-96E3-7FC83192FA9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531" v="1618"/>
          <ac:spMkLst>
            <pc:docMk/>
            <pc:sldMk cId="995067089" sldId="336"/>
            <ac:spMk id="62" creationId="{CF4FF2DD-C10C-4BDC-B660-84402502ECC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1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3"/>
          <ac:spMkLst>
            <pc:docMk/>
            <pc:sldMk cId="995067089" sldId="336"/>
            <ac:spMk id="65" creationId="{F6FF8EF2-A5BE-4D68-8588-5B5299C52F19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09:51.947" v="8198" actId="478"/>
          <ac:spMkLst>
            <pc:docMk/>
            <pc:sldMk cId="995067089" sldId="336"/>
            <ac:spMk id="66" creationId="{4C31525F-97E9-4C30-8AB6-84B452A52001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9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5"/>
          <ac:spMkLst>
            <pc:docMk/>
            <pc:sldMk cId="995067089" sldId="336"/>
            <ac:spMk id="72" creationId="{CA154379-494E-4734-89D2-5992D0D34B5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7"/>
          <ac:spMkLst>
            <pc:docMk/>
            <pc:sldMk cId="995067089" sldId="336"/>
            <ac:spMk id="75" creationId="{5AAE0FCC-5711-4B2D-8099-067EC412D0D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7"/>
          <ac:spMkLst>
            <pc:docMk/>
            <pc:sldMk cId="995067089" sldId="336"/>
            <ac:spMk id="81" creationId="{5E9A0431-BF35-46E7-86D1-5EAE1306955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15:02.227" v="16583"/>
          <ac:spMkLst>
            <pc:docMk/>
            <pc:sldMk cId="995067089" sldId="336"/>
            <ac:spMk id="82" creationId="{2E9474F6-EC0B-425B-9EA6-75051CF86416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86" creationId="{DBE71A87-945B-4880-8492-D110EA2D310B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88" creationId="{D269047B-ED07-4A56-A1F5-968E4223ACB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42.997" v="5950"/>
          <ac:spMkLst>
            <pc:docMk/>
            <pc:sldMk cId="995067089" sldId="336"/>
            <ac:spMk id="90" creationId="{CE821111-9818-4A45-BAA2-5B299B19C0A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29" v="16595"/>
          <ac:spMkLst>
            <pc:docMk/>
            <pc:sldMk cId="995067089" sldId="336"/>
            <ac:spMk id="91" creationId="{0A9CA739-4907-402B-984F-CB49908024C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01.818" v="6127"/>
          <ac:spMkLst>
            <pc:docMk/>
            <pc:sldMk cId="995067089" sldId="336"/>
            <ac:spMk id="96" creationId="{62EAD920-0EC8-47BF-A523-DEFFBDA686F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10.125" v="6356"/>
          <ac:spMkLst>
            <pc:docMk/>
            <pc:sldMk cId="995067089" sldId="336"/>
            <ac:spMk id="98" creationId="{A1301C39-D013-47FA-BFDE-1032A97E403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58.797" v="6533"/>
          <ac:spMkLst>
            <pc:docMk/>
            <pc:sldMk cId="995067089" sldId="336"/>
            <ac:spMk id="101" creationId="{EFEFFA9E-E10D-4085-94B7-06D6206EEDA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0.447" v="6764"/>
          <ac:spMkLst>
            <pc:docMk/>
            <pc:sldMk cId="995067089" sldId="336"/>
            <ac:spMk id="103" creationId="{064372B5-B4CF-45D9-A519-7DFBD32A21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5.320" v="6940"/>
          <ac:spMkLst>
            <pc:docMk/>
            <pc:sldMk cId="995067089" sldId="336"/>
            <ac:spMk id="105" creationId="{59E8E626-9685-4FB6-8C45-B841803F0BC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6.969" v="7118"/>
          <ac:spMkLst>
            <pc:docMk/>
            <pc:sldMk cId="995067089" sldId="336"/>
            <ac:spMk id="107" creationId="{9D2D52B9-B4E9-4E01-BA03-D8B213E41C5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0.640" v="7406"/>
          <ac:spMkLst>
            <pc:docMk/>
            <pc:sldMk cId="995067089" sldId="336"/>
            <ac:spMk id="110" creationId="{EE63CECC-70B5-467E-B674-4AE0CA00233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4.685" v="7678"/>
          <ac:spMkLst>
            <pc:docMk/>
            <pc:sldMk cId="995067089" sldId="336"/>
            <ac:spMk id="113" creationId="{C0FCEDB1-4D8D-427E-B7D1-40555216FAF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12.227" v="8343"/>
          <ac:spMkLst>
            <pc:docMk/>
            <pc:sldMk cId="995067089" sldId="336"/>
            <ac:spMk id="119" creationId="{5BE1F287-7BE3-4366-BB35-2E0A68DEAF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3.873" v="8487"/>
          <ac:spMkLst>
            <pc:docMk/>
            <pc:sldMk cId="995067089" sldId="336"/>
            <ac:spMk id="121" creationId="{C9D2F01A-1301-4E97-AB3E-5EB20E940E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7.547" v="8716"/>
          <ac:spMkLst>
            <pc:docMk/>
            <pc:sldMk cId="995067089" sldId="336"/>
            <ac:spMk id="123" creationId="{142075F8-6C05-4BF6-9FE4-9A587ED3A04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9.317" v="9956"/>
          <ac:spMkLst>
            <pc:docMk/>
            <pc:sldMk cId="995067089" sldId="336"/>
            <ac:spMk id="124" creationId="{72AFD886-F81A-41B1-9704-E6F6A570DC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0.477" v="8947"/>
          <ac:spMkLst>
            <pc:docMk/>
            <pc:sldMk cId="995067089" sldId="336"/>
            <ac:spMk id="126" creationId="{E3A8BCFF-B168-47C1-B092-726D938C9A9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1.589" v="9514"/>
          <ac:spMkLst>
            <pc:docMk/>
            <pc:sldMk cId="995067089" sldId="336"/>
            <ac:spMk id="127" creationId="{775138C2-1FF5-4E78-88ED-983F75ECD721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35.806" v="9176"/>
          <ac:spMkLst>
            <pc:docMk/>
            <pc:sldMk cId="995067089" sldId="336"/>
            <ac:spMk id="129" creationId="{7296B07C-18F8-4C67-A19E-7C823797C3D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4.187" v="9164"/>
          <ac:spMkLst>
            <pc:docMk/>
            <pc:sldMk cId="995067089" sldId="336"/>
            <ac:spMk id="130" creationId="{4CDFC1A7-5992-483A-8C2F-29FDD52119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47.898" v="9948"/>
          <ac:spMkLst>
            <pc:docMk/>
            <pc:sldMk cId="995067089" sldId="336"/>
            <ac:spMk id="136" creationId="{F3358BB7-19EF-4060-B49E-B78173AD08C8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1"/>
          <ac:spMkLst>
            <pc:docMk/>
            <pc:sldMk cId="995067089" sldId="336"/>
            <ac:spMk id="141" creationId="{57F94C1C-B279-482E-81AE-EFDD3558C1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59.446" v="10539"/>
          <ac:spMkLst>
            <pc:docMk/>
            <pc:sldMk cId="995067089" sldId="336"/>
            <ac:spMk id="142" creationId="{4DE19C7A-C148-48FA-80E3-658AA1B727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07.616" v="10737"/>
          <ac:spMkLst>
            <pc:docMk/>
            <pc:sldMk cId="995067089" sldId="336"/>
            <ac:spMk id="147" creationId="{2D99B731-D2C8-43BC-8E5E-3A0A931BF7E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3"/>
          <ac:spMkLst>
            <pc:docMk/>
            <pc:sldMk cId="995067089" sldId="336"/>
            <ac:spMk id="149" creationId="{B6FB31CF-AD53-433E-B0C9-F3438737437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13.475" v="11002"/>
          <ac:spMkLst>
            <pc:docMk/>
            <pc:sldMk cId="995067089" sldId="336"/>
            <ac:spMk id="150" creationId="{BA3D78C9-6F41-4691-B7E0-7CF2AC3A513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3.533" v="11949"/>
          <ac:spMkLst>
            <pc:docMk/>
            <pc:sldMk cId="995067089" sldId="336"/>
            <ac:spMk id="156" creationId="{D2E4B37C-D8AA-403D-8349-ADB5FAB96E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9.148" v="12611"/>
          <ac:spMkLst>
            <pc:docMk/>
            <pc:sldMk cId="995067089" sldId="336"/>
            <ac:spMk id="158" creationId="{B7A00C6B-5747-4A6D-838F-C73512C577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39.721" v="12968"/>
          <ac:spMkLst>
            <pc:docMk/>
            <pc:sldMk cId="995067089" sldId="336"/>
            <ac:spMk id="160" creationId="{D5127650-CE19-4CC9-BB48-2A0D3BD9DC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49.760" v="13026"/>
          <ac:spMkLst>
            <pc:docMk/>
            <pc:sldMk cId="995067089" sldId="336"/>
            <ac:spMk id="162" creationId="{E1F6CDFC-DDAF-4BF8-BB7D-401E3180C39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3:46.761" v="14574"/>
          <ac:spMkLst>
            <pc:docMk/>
            <pc:sldMk cId="995067089" sldId="336"/>
            <ac:spMk id="167" creationId="{80C4B69C-2C93-4849-BC62-456E485422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4:36.303" v="15874"/>
          <ac:spMkLst>
            <pc:docMk/>
            <pc:sldMk cId="995067089" sldId="336"/>
            <ac:spMk id="174" creationId="{EC5F62DE-B2B5-4A1B-A6F1-DF82502333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5:02.229" v="16600"/>
          <ac:spMkLst>
            <pc:docMk/>
            <pc:sldMk cId="995067089" sldId="336"/>
            <ac:spMk id="177" creationId="{182F7C0A-6A78-4F5B-849C-9F60F967EB3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58:17.038" v="35959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02:42.596" v="1708"/>
          <ac:graphicFrameMkLst>
            <pc:docMk/>
            <pc:sldMk cId="995067089" sldId="336"/>
            <ac:graphicFrameMk id="61" creationId="{D5687E3D-1DAA-499C-883F-883BD9085F7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3:27.419" v="1820"/>
          <ac:graphicFrameMkLst>
            <pc:docMk/>
            <pc:sldMk cId="995067089" sldId="336"/>
            <ac:graphicFrameMk id="64" creationId="{22157D0B-6484-4259-B89B-0A2F7469DF3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06.258" v="1995"/>
          <ac:graphicFrameMkLst>
            <pc:docMk/>
            <pc:sldMk cId="995067089" sldId="336"/>
            <ac:graphicFrameMk id="67" creationId="{A546B4AB-6417-442E-BEC6-5A74053FBE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16.220" v="2166"/>
          <ac:graphicFrameMkLst>
            <pc:docMk/>
            <pc:sldMk cId="995067089" sldId="336"/>
            <ac:graphicFrameMk id="68" creationId="{BE19C2E5-E227-4347-A8FC-DE5E407E8D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2.048" v="2317"/>
          <ac:graphicFrameMkLst>
            <pc:docMk/>
            <pc:sldMk cId="995067089" sldId="336"/>
            <ac:graphicFrameMk id="70" creationId="{1CE41D28-0BA6-4AF0-9B8F-DABE79A21D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6.244" v="2502"/>
          <ac:graphicFrameMkLst>
            <pc:docMk/>
            <pc:sldMk cId="995067089" sldId="336"/>
            <ac:graphicFrameMk id="71" creationId="{4998602E-0ECE-4F18-93D2-ED30F1C65D4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8.798" v="2618"/>
          <ac:graphicFrameMkLst>
            <pc:docMk/>
            <pc:sldMk cId="995067089" sldId="336"/>
            <ac:graphicFrameMk id="73" creationId="{540B7D6C-92EE-435A-A2CA-7C0D4B86AF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9.671" v="2725"/>
          <ac:graphicFrameMkLst>
            <pc:docMk/>
            <pc:sldMk cId="995067089" sldId="336"/>
            <ac:graphicFrameMk id="74" creationId="{7D97E53E-9F35-442F-948B-E5F978A3418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0.385" v="6659"/>
          <ac:graphicFrameMkLst>
            <pc:docMk/>
            <pc:sldMk cId="995067089" sldId="336"/>
            <ac:graphicFrameMk id="79" creationId="{EC2FE52E-8A3E-4EA6-9548-3FC92577E7B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0:05:31.143" v="3266"/>
          <ac:graphicFrameMkLst>
            <pc:docMk/>
            <pc:sldMk cId="995067089" sldId="336"/>
            <ac:graphicFrameMk id="80" creationId="{28C42CA4-4DEE-4592-B9CA-748A90F6D7B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43.844" v="3420"/>
          <ac:graphicFrameMkLst>
            <pc:docMk/>
            <pc:sldMk cId="995067089" sldId="336"/>
            <ac:graphicFrameMk id="83" creationId="{2EBF8B60-A01F-40B4-A28E-4F466C520C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52.182" v="3647"/>
          <ac:graphicFrameMkLst>
            <pc:docMk/>
            <pc:sldMk cId="995067089" sldId="336"/>
            <ac:graphicFrameMk id="84" creationId="{868FFEB4-BA7E-4FA5-8AAC-035C1584926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6:42.928" v="5847"/>
          <ac:graphicFrameMkLst>
            <pc:docMk/>
            <pc:sldMk cId="995067089" sldId="336"/>
            <ac:graphicFrameMk id="85" creationId="{C3436C57-141E-449C-957F-6C566AFFED96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04.850" v="4189"/>
          <ac:graphicFrameMkLst>
            <pc:docMk/>
            <pc:sldMk cId="995067089" sldId="336"/>
            <ac:graphicFrameMk id="87" creationId="{73F2EA35-0715-4A52-94D8-90AE14363994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17.509" v="5325"/>
          <ac:graphicFrameMkLst>
            <pc:docMk/>
            <pc:sldMk cId="995067089" sldId="336"/>
            <ac:graphicFrameMk id="89" creationId="{2A1CD49C-309C-40C8-B4EB-9E8087579AF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01.749" v="6024"/>
          <ac:graphicFrameMkLst>
            <pc:docMk/>
            <pc:sldMk cId="995067089" sldId="336"/>
            <ac:graphicFrameMk id="95" creationId="{CAAA8E03-606F-4444-B8F2-574AB57B0AD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10.064" v="6251"/>
          <ac:graphicFrameMkLst>
            <pc:docMk/>
            <pc:sldMk cId="995067089" sldId="336"/>
            <ac:graphicFrameMk id="97" creationId="{D3086F2B-E605-44DD-BF0F-5107C0A2C38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58.728" v="6428"/>
          <ac:graphicFrameMkLst>
            <pc:docMk/>
            <pc:sldMk cId="995067089" sldId="336"/>
            <ac:graphicFrameMk id="100" creationId="{77181569-F74A-41C5-9824-93412AEE6C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46.698" v="14472"/>
          <ac:graphicFrameMkLst>
            <pc:docMk/>
            <pc:sldMk cId="995067089" sldId="336"/>
            <ac:graphicFrameMk id="102" creationId="{D2D2A96F-8A31-4DD9-8640-CCF2909673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5.267" v="6835"/>
          <ac:graphicFrameMkLst>
            <pc:docMk/>
            <pc:sldMk cId="995067089" sldId="336"/>
            <ac:graphicFrameMk id="104" creationId="{4CC92EBC-213F-473C-B491-BCBAC592CB0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6.900" v="7013"/>
          <ac:graphicFrameMkLst>
            <pc:docMk/>
            <pc:sldMk cId="995067089" sldId="336"/>
            <ac:graphicFrameMk id="106" creationId="{9C699673-6D6D-49C5-8DD8-2A97F67A472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9.035" v="7132"/>
          <ac:graphicFrameMkLst>
            <pc:docMk/>
            <pc:sldMk cId="995067089" sldId="336"/>
            <ac:graphicFrameMk id="108" creationId="{1F231975-95EC-49A0-9FA7-1E0B18EA9F4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0.571" v="7302"/>
          <ac:graphicFrameMkLst>
            <pc:docMk/>
            <pc:sldMk cId="995067089" sldId="336"/>
            <ac:graphicFrameMk id="109" creationId="{5EB24D88-1992-406E-8509-72057275EFB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1.204" v="7418"/>
          <ac:graphicFrameMkLst>
            <pc:docMk/>
            <pc:sldMk cId="995067089" sldId="336"/>
            <ac:graphicFrameMk id="111" creationId="{86E1262C-3E6D-46D9-B0DB-4444BF947A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4.632" v="7574"/>
          <ac:graphicFrameMkLst>
            <pc:docMk/>
            <pc:sldMk cId="995067089" sldId="336"/>
            <ac:graphicFrameMk id="112" creationId="{0F866423-E3E7-409B-8D7B-077FBAEBD6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6.289" v="7691"/>
          <ac:graphicFrameMkLst>
            <pc:docMk/>
            <pc:sldMk cId="995067089" sldId="336"/>
            <ac:graphicFrameMk id="114" creationId="{51E94E62-5DD7-4B99-A72C-07967E5B5A7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38.700" v="7834"/>
          <ac:graphicFrameMkLst>
            <pc:docMk/>
            <pc:sldMk cId="995067089" sldId="336"/>
            <ac:graphicFrameMk id="115" creationId="{D0201AE3-595C-4D51-A9EE-E4DFFF21109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2.411" v="7982"/>
          <ac:graphicFrameMkLst>
            <pc:docMk/>
            <pc:sldMk cId="995067089" sldId="336"/>
            <ac:graphicFrameMk id="116" creationId="{8B862B18-42D5-4C40-9665-37D8499BF30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8.260" v="8100"/>
          <ac:graphicFrameMkLst>
            <pc:docMk/>
            <pc:sldMk cId="995067089" sldId="336"/>
            <ac:graphicFrameMk id="117" creationId="{14CD0943-D1C2-4E8E-8C03-798836A0198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12.180" v="8248"/>
          <ac:graphicFrameMkLst>
            <pc:docMk/>
            <pc:sldMk cId="995067089" sldId="336"/>
            <ac:graphicFrameMk id="118" creationId="{7D3EE375-A1DD-4B08-B742-A984585415E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3.821" v="8393"/>
          <ac:graphicFrameMkLst>
            <pc:docMk/>
            <pc:sldMk cId="995067089" sldId="336"/>
            <ac:graphicFrameMk id="120" creationId="{2E4D6518-E41F-44AF-B64D-F2780E1246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7.485" v="8621"/>
          <ac:graphicFrameMkLst>
            <pc:docMk/>
            <pc:sldMk cId="995067089" sldId="336"/>
            <ac:graphicFrameMk id="122" creationId="{4BA9790D-0A9D-4B83-88D1-AD3DA08389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0.424" v="8851"/>
          <ac:graphicFrameMkLst>
            <pc:docMk/>
            <pc:sldMk cId="995067089" sldId="336"/>
            <ac:graphicFrameMk id="125" creationId="{9428BC69-F2DC-43A2-8C8B-48AADE9E72F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4.118" v="9067"/>
          <ac:graphicFrameMkLst>
            <pc:docMk/>
            <pc:sldMk cId="995067089" sldId="336"/>
            <ac:graphicFrameMk id="128" creationId="{5A952EE6-FEDB-49CC-84A3-A9E7949C277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5.806" v="9179"/>
          <ac:graphicFrameMkLst>
            <pc:docMk/>
            <pc:sldMk cId="995067089" sldId="336"/>
            <ac:graphicFrameMk id="131" creationId="{E2F11B38-1E37-4826-BBFD-7CAEAC517DA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7.408" v="9286"/>
          <ac:graphicFrameMkLst>
            <pc:docMk/>
            <pc:sldMk cId="995067089" sldId="336"/>
            <ac:graphicFrameMk id="132" creationId="{F266FC81-AFAA-4B32-8CF6-3DA453B02EC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8.543" v="9412"/>
          <ac:graphicFrameMkLst>
            <pc:docMk/>
            <pc:sldMk cId="995067089" sldId="336"/>
            <ac:graphicFrameMk id="133" creationId="{5B6FE3A6-04B7-407F-8F85-7041988E0B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1.605" v="9524"/>
          <ac:graphicFrameMkLst>
            <pc:docMk/>
            <pc:sldMk cId="995067089" sldId="336"/>
            <ac:graphicFrameMk id="134" creationId="{E39FBE6F-1BF7-404B-A2C2-FB7E5EC0FC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7.838" v="9853"/>
          <ac:graphicFrameMkLst>
            <pc:docMk/>
            <pc:sldMk cId="995067089" sldId="336"/>
            <ac:graphicFrameMk id="135" creationId="{0D3DC1B1-8EED-4252-B90F-12A5DB5AA18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9.333" v="9977"/>
          <ac:graphicFrameMkLst>
            <pc:docMk/>
            <pc:sldMk cId="995067089" sldId="336"/>
            <ac:graphicFrameMk id="137" creationId="{3503245C-6BB0-4FBE-89E5-867BA1D89C0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1.657" v="10093"/>
          <ac:graphicFrameMkLst>
            <pc:docMk/>
            <pc:sldMk cId="995067089" sldId="336"/>
            <ac:graphicFrameMk id="138" creationId="{581F8E10-A39C-464E-8FC7-C621B7E224E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3.767" v="10199"/>
          <ac:graphicFrameMkLst>
            <pc:docMk/>
            <pc:sldMk cId="995067089" sldId="336"/>
            <ac:graphicFrameMk id="139" creationId="{EC83322A-5547-4216-95BE-B4F055A24E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9.392" v="10445"/>
          <ac:graphicFrameMkLst>
            <pc:docMk/>
            <pc:sldMk cId="995067089" sldId="336"/>
            <ac:graphicFrameMk id="140" creationId="{874CB590-07A4-44BD-B1A7-92532AD3B5E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07.562" v="10643"/>
          <ac:graphicFrameMkLst>
            <pc:docMk/>
            <pc:sldMk cId="995067089" sldId="336"/>
            <ac:graphicFrameMk id="146" creationId="{FDD2D845-9D8E-4502-957E-CAAAD767F9D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13.406" v="10900"/>
          <ac:graphicFrameMkLst>
            <pc:docMk/>
            <pc:sldMk cId="995067089" sldId="336"/>
            <ac:graphicFrameMk id="148" creationId="{29787324-38AB-4FF7-8B2F-C00D05CAF9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39.662" v="12866"/>
          <ac:graphicFrameMkLst>
            <pc:docMk/>
            <pc:sldMk cId="995067089" sldId="336"/>
            <ac:graphicFrameMk id="154" creationId="{81A55382-5576-4665-95AB-A8D30E82499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17.838" v="11287"/>
          <ac:graphicFrameMkLst>
            <pc:docMk/>
            <pc:sldMk cId="995067089" sldId="336"/>
            <ac:graphicFrameMk id="155" creationId="{3E5BFE11-A5E9-4B73-8D78-3E63A8F6240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3.533" v="11949"/>
          <ac:graphicFrameMkLst>
            <pc:docMk/>
            <pc:sldMk cId="995067089" sldId="336"/>
            <ac:graphicFrameMk id="157" creationId="{EB8D422B-086B-4CDC-999E-EA607C02459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9.148" v="12611"/>
          <ac:graphicFrameMkLst>
            <pc:docMk/>
            <pc:sldMk cId="995067089" sldId="336"/>
            <ac:graphicFrameMk id="159" creationId="{80BAE5A7-C9CC-4806-B643-62D07D3674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38.580" v="13175"/>
          <ac:graphicFrameMkLst>
            <pc:docMk/>
            <pc:sldMk cId="995067089" sldId="336"/>
            <ac:graphicFrameMk id="161" creationId="{57DB2F30-8B8B-43AF-80C9-ABC3E170E8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49.936" v="13354"/>
          <ac:graphicFrameMkLst>
            <pc:docMk/>
            <pc:sldMk cId="995067089" sldId="336"/>
            <ac:graphicFrameMk id="163" creationId="{54FE398B-3C01-4F5C-8399-6B02C1B6459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00.051" v="13516"/>
          <ac:graphicFrameMkLst>
            <pc:docMk/>
            <pc:sldMk cId="995067089" sldId="336"/>
            <ac:graphicFrameMk id="164" creationId="{E48ED672-8050-4C26-98A1-C5D7210D88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26.099" v="13746"/>
          <ac:graphicFrameMkLst>
            <pc:docMk/>
            <pc:sldMk cId="995067089" sldId="336"/>
            <ac:graphicFrameMk id="165" creationId="{C2D1960C-5B90-4A10-A35D-B051A231B7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58.502" v="14625"/>
          <ac:graphicFrameMkLst>
            <pc:docMk/>
            <pc:sldMk cId="995067089" sldId="336"/>
            <ac:graphicFrameMk id="166" creationId="{9275088D-1D4A-4B5D-B839-84DE999A05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0.933" v="14856"/>
          <ac:graphicFrameMkLst>
            <pc:docMk/>
            <pc:sldMk cId="995067089" sldId="336"/>
            <ac:graphicFrameMk id="168" creationId="{8C723E08-3044-4230-A92B-6A768A57C01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198" v="16514"/>
          <ac:graphicFrameMkLst>
            <pc:docMk/>
            <pc:sldMk cId="995067089" sldId="336"/>
            <ac:graphicFrameMk id="169" creationId="{3C6E91AF-B3CE-4A34-B886-31B2A6A12E9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2.608" v="15086"/>
          <ac:graphicFrameMkLst>
            <pc:docMk/>
            <pc:sldMk cId="995067089" sldId="336"/>
            <ac:graphicFrameMk id="170" creationId="{47B71188-38C8-4505-B18A-8F116A3D303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3.494" v="15316"/>
          <ac:graphicFrameMkLst>
            <pc:docMk/>
            <pc:sldMk cId="995067089" sldId="336"/>
            <ac:graphicFrameMk id="171" creationId="{1EE8B248-B0B4-4CD0-A5D1-532520F6695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4.299" v="15546"/>
          <ac:graphicFrameMkLst>
            <pc:docMk/>
            <pc:sldMk cId="995067089" sldId="336"/>
            <ac:graphicFrameMk id="172" creationId="{BF8F516A-21E3-44E3-AF0E-38D3DEBE8D7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36.240" v="15772"/>
          <ac:graphicFrameMkLst>
            <pc:docMk/>
            <pc:sldMk cId="995067089" sldId="336"/>
            <ac:graphicFrameMk id="173" creationId="{AC3790B8-1DE2-4511-AA24-17FC8F703A7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5:02.168" v="16498"/>
          <ac:graphicFrameMkLst>
            <pc:docMk/>
            <pc:sldMk cId="995067089" sldId="336"/>
            <ac:graphicFrameMk id="175" creationId="{06817139-01E6-44CA-8710-3F194A37EAED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4:45.640" v="16048" actId="1076"/>
          <ac:graphicFrameMkLst>
            <pc:docMk/>
            <pc:sldMk cId="995067089" sldId="336"/>
            <ac:graphicFrameMk id="176" creationId="{22F7C7BE-E27C-4E3F-845C-3A594FF8A97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208" v="16540"/>
          <ac:graphicFrameMkLst>
            <pc:docMk/>
            <pc:sldMk cId="995067089" sldId="336"/>
            <ac:graphicFrameMk id="178" creationId="{893AA19C-F33C-4DDC-A8B7-626AC44F77FD}"/>
          </ac:graphicFrameMkLst>
        </pc:graphicFrameChg>
        <pc:cxnChg chg="mod ord">
          <ac:chgData name="Wind-Larsen, Taus (SGRE OF TE NAC TD SYC)" userId="909f4c56-f0bd-48e2-b5e6-c85fd07560b7" providerId="ADAL" clId="{CAC997D2-2045-4FBD-88AA-2930340D2AF4}" dt="2022-02-11T10:15:02.217" v="16554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60"/>
          <ac:cxnSpMkLst>
            <pc:docMk/>
            <pc:sldMk cId="995067089" sldId="336"/>
            <ac:cxnSpMk id="20" creationId="{72FAB806-EB20-436C-87B5-28D8EF7EB17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91"/>
          <ac:cxnSpMkLst>
            <pc:docMk/>
            <pc:sldMk cId="995067089" sldId="336"/>
            <ac:cxnSpMk id="24" creationId="{ECE502E1-3EBC-4A31-8058-A9ADD715081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9"/>
          <ac:cxnSpMkLst>
            <pc:docMk/>
            <pc:sldMk cId="995067089" sldId="336"/>
            <ac:cxnSpMk id="28" creationId="{B8342669-BA27-400F-BEBD-23AB4ACC523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7"/>
          <ac:cxnSpMkLst>
            <pc:docMk/>
            <pc:sldMk cId="995067089" sldId="336"/>
            <ac:cxnSpMk id="29" creationId="{65F502C1-2AD9-4068-9CF5-B58E97E2C1E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91"/>
          <ac:cxnSpMkLst>
            <pc:docMk/>
            <pc:sldMk cId="995067089" sldId="336"/>
            <ac:cxnSpMk id="31" creationId="{A70B4FF4-C1AB-4327-A31A-C9390C4D93B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9"/>
          <ac:cxnSpMkLst>
            <pc:docMk/>
            <pc:sldMk cId="995067089" sldId="336"/>
            <ac:cxnSpMk id="32" creationId="{40DA7C68-839A-4259-8163-C1DFEB77D07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7"/>
          <ac:cxnSpMkLst>
            <pc:docMk/>
            <pc:sldMk cId="995067089" sldId="336"/>
            <ac:cxnSpMk id="33" creationId="{E05B24B8-8D19-45B3-93A7-E67720B5C476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8"/>
          <ac:cxnSpMkLst>
            <pc:docMk/>
            <pc:sldMk cId="995067089" sldId="336"/>
            <ac:cxnSpMk id="36" creationId="{84CF4D50-E1F3-4C2B-9F54-F7BA2BA676CA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06:42.881" v="5775"/>
          <ac:cxnSpMkLst>
            <pc:docMk/>
            <pc:sldMk cId="995067089" sldId="336"/>
            <ac:cxnSpMk id="37" creationId="{2E64F948-4C1C-4190-955E-979747DB324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4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70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2"/>
          <ac:cxnSpMkLst>
            <pc:docMk/>
            <pc:sldMk cId="995067089" sldId="336"/>
            <ac:cxnSpMk id="41" creationId="{20E6E158-6032-4451-97DA-CF98B60F71A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2" creationId="{2F628FAC-17AE-4484-B090-49644F57C95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3" creationId="{1A76B2F0-2E98-4545-9C5E-DA26AF04805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6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4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8"/>
          <ac:cxnSpMkLst>
            <pc:docMk/>
            <pc:sldMk cId="995067089" sldId="336"/>
            <ac:cxnSpMk id="48" creationId="{1FA06BA3-C521-419C-99C9-FD10F87FB5B8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9" creationId="{436C69B8-86FA-4130-A99B-BE99530BD03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1" creationId="{217F7771-8DBC-481C-9227-ECA7E4295B10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2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6"/>
          <ac:cxnSpMkLst>
            <pc:docMk/>
            <pc:sldMk cId="995067089" sldId="336"/>
            <ac:cxnSpMk id="54" creationId="{03A409E1-EDDF-45CB-A701-858D39DE881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5" creationId="{42B65BB4-D348-4591-AC3D-9EA7A628394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6" creationId="{DABC5105-ADFD-4461-B659-13C74E82030E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2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0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8"/>
          <ac:cxnSpMkLst>
            <pc:docMk/>
            <pc:sldMk cId="995067089" sldId="336"/>
            <ac:cxnSpMk id="78" creationId="{B4B73418-303A-4AE9-B9CE-FBC3397F41D6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4"/>
          <ac:cxnSpMkLst>
            <pc:docMk/>
            <pc:sldMk cId="995067089" sldId="336"/>
            <ac:cxnSpMk id="92" creationId="{B541F855-06A9-4E08-9DEF-743786F8BF1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6"/>
          <ac:cxnSpMkLst>
            <pc:docMk/>
            <pc:sldMk cId="995067089" sldId="336"/>
            <ac:cxnSpMk id="93" creationId="{86FCC693-3754-4DD1-9533-566A3D12832F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2"/>
          <ac:cxnSpMkLst>
            <pc:docMk/>
            <pc:sldMk cId="995067089" sldId="336"/>
            <ac:cxnSpMk id="94" creationId="{490D833C-7ADA-47A3-B56E-4239395CEC8A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66"/>
          <ac:cxnSpMkLst>
            <pc:docMk/>
            <pc:sldMk cId="995067089" sldId="336"/>
            <ac:cxnSpMk id="99" creationId="{8A16D71B-8758-468F-8CB3-80AB806CDF0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8"/>
          <ac:cxnSpMkLst>
            <pc:docMk/>
            <pc:sldMk cId="995067089" sldId="336"/>
            <ac:cxnSpMk id="143" creationId="{9F075E6E-6E8D-4B51-AAAA-86999184EDF9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6"/>
          <ac:cxnSpMkLst>
            <pc:docMk/>
            <pc:sldMk cId="995067089" sldId="336"/>
            <ac:cxnSpMk id="144" creationId="{18554E66-610B-4EAC-BAC0-72582685382B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0"/>
          <ac:cxnSpMkLst>
            <pc:docMk/>
            <pc:sldMk cId="995067089" sldId="336"/>
            <ac:cxnSpMk id="145" creationId="{7991103A-DD98-4403-B489-01103FE1388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2"/>
          <ac:cxnSpMkLst>
            <pc:docMk/>
            <pc:sldMk cId="995067089" sldId="336"/>
            <ac:cxnSpMk id="151" creationId="{B25351B5-8410-40B6-B414-5961AE306F15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4"/>
          <ac:cxnSpMkLst>
            <pc:docMk/>
            <pc:sldMk cId="995067089" sldId="336"/>
            <ac:cxnSpMk id="152" creationId="{2B5BF759-88E6-494E-9C37-4A5BEB71FC6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6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add mod">
        <pc:chgData name="Wind-Larsen, Taus (SGRE OF TE NAC TD SYC)" userId="909f4c56-f0bd-48e2-b5e6-c85fd07560b7" providerId="ADAL" clId="{CAC997D2-2045-4FBD-88AA-2930340D2AF4}" dt="2022-02-11T13:21:19.092" v="33888" actId="113"/>
        <pc:sldMkLst>
          <pc:docMk/>
          <pc:sldMk cId="479969689" sldId="337"/>
        </pc:sldMkLst>
        <pc:spChg chg="mod">
          <ac:chgData name="Wind-Larsen, Taus (SGRE OF TE NAC TD SYC)" userId="909f4c56-f0bd-48e2-b5e6-c85fd07560b7" providerId="ADAL" clId="{CAC997D2-2045-4FBD-88AA-2930340D2AF4}" dt="2022-02-11T13:21:19.092" v="33888" actId="113"/>
          <ac:spMkLst>
            <pc:docMk/>
            <pc:sldMk cId="479969689" sldId="337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22:58.095" v="33893" actId="20577"/>
        <pc:sldMkLst>
          <pc:docMk/>
          <pc:sldMk cId="3084079554" sldId="338"/>
        </pc:sldMkLst>
        <pc:spChg chg="mod">
          <ac:chgData name="Wind-Larsen, Taus (SGRE OF TE NAC TD SYC)" userId="909f4c56-f0bd-48e2-b5e6-c85fd07560b7" providerId="ADAL" clId="{CAC997D2-2045-4FBD-88AA-2930340D2AF4}" dt="2022-02-11T13:22:58.095" v="33893" actId="20577"/>
          <ac:spMkLst>
            <pc:docMk/>
            <pc:sldMk cId="3084079554" sldId="338"/>
            <ac:spMk id="6" creationId="{ECCB7D8A-828C-4A5A-87D9-D3FD263901E9}"/>
          </ac:spMkLst>
        </pc:spChg>
      </pc:sldChg>
      <pc:sldChg chg="addSp delSp modSp add mod modAnim">
        <pc:chgData name="Wind-Larsen, Taus (SGRE OF TE NAC TD SYC)" userId="909f4c56-f0bd-48e2-b5e6-c85fd07560b7" providerId="ADAL" clId="{CAC997D2-2045-4FBD-88AA-2930340D2AF4}" dt="2022-02-11T14:53:52.026" v="36684" actId="20577"/>
        <pc:sldMkLst>
          <pc:docMk/>
          <pc:sldMk cId="1231909040" sldId="339"/>
        </pc:sldMkLst>
        <pc:spChg chg="mod">
          <ac:chgData name="Wind-Larsen, Taus (SGRE OF TE NAC TD SYC)" userId="909f4c56-f0bd-48e2-b5e6-c85fd07560b7" providerId="ADAL" clId="{CAC997D2-2045-4FBD-88AA-2930340D2AF4}" dt="2022-02-11T13:25:29.692" v="34069" actId="948"/>
          <ac:spMkLst>
            <pc:docMk/>
            <pc:sldMk cId="1231909040" sldId="339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3:25:18.537" v="33962" actId="478"/>
          <ac:spMkLst>
            <pc:docMk/>
            <pc:sldMk cId="1231909040" sldId="339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22:41.161" v="36099" actId="14100"/>
          <ac:spMkLst>
            <pc:docMk/>
            <pc:sldMk cId="1231909040" sldId="339"/>
            <ac:spMk id="8" creationId="{04E5EB0D-310E-4ED3-A3E2-2E599422A8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7.270" v="34017"/>
          <ac:spMkLst>
            <pc:docMk/>
            <pc:sldMk cId="1231909040" sldId="339"/>
            <ac:spMk id="9" creationId="{ADE70775-9173-462B-ABC8-1A48721E58F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8.790" v="34065"/>
          <ac:spMkLst>
            <pc:docMk/>
            <pc:sldMk cId="1231909040" sldId="339"/>
            <ac:spMk id="10" creationId="{DBB89B63-1928-40A4-84B4-C44869A7EF7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9.811" v="34108"/>
          <ac:spMkLst>
            <pc:docMk/>
            <pc:sldMk cId="1231909040" sldId="339"/>
            <ac:spMk id="11" creationId="{359CDC06-2870-4B43-B615-9FC95056484F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30:52.546" v="36314" actId="14861"/>
          <ac:spMkLst>
            <pc:docMk/>
            <pc:sldMk cId="1231909040" sldId="339"/>
            <ac:spMk id="12" creationId="{8DAD6B42-EDE3-45C3-B2AE-E92DE20B38C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52.026" v="36684" actId="20577"/>
          <ac:spMkLst>
            <pc:docMk/>
            <pc:sldMk cId="1231909040" sldId="339"/>
            <ac:spMk id="13" creationId="{9002AFF6-EC8E-400F-8784-96799CA8AF46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5:29.817" v="34110"/>
          <ac:graphicFrameMkLst>
            <pc:docMk/>
            <pc:sldMk cId="1231909040" sldId="339"/>
            <ac:graphicFrameMk id="7" creationId="{C2E1FD7A-6B81-4A2C-A69F-E9E0FBC2131B}"/>
          </ac:graphicFrameMkLst>
        </pc:graphicFrameChg>
      </pc:sldChg>
      <pc:sldChg chg="modSp add mod">
        <pc:chgData name="Wind-Larsen, Taus (SGRE OF TE NAC TD SYC)" userId="909f4c56-f0bd-48e2-b5e6-c85fd07560b7" providerId="ADAL" clId="{CAC997D2-2045-4FBD-88AA-2930340D2AF4}" dt="2022-02-11T13:27:44.938" v="34131" actId="114"/>
        <pc:sldMkLst>
          <pc:docMk/>
          <pc:sldMk cId="3983236087" sldId="340"/>
        </pc:sldMkLst>
        <pc:spChg chg="mod">
          <ac:chgData name="Wind-Larsen, Taus (SGRE OF TE NAC TD SYC)" userId="909f4c56-f0bd-48e2-b5e6-c85fd07560b7" providerId="ADAL" clId="{CAC997D2-2045-4FBD-88AA-2930340D2AF4}" dt="2022-02-11T13:27:44.938" v="34131" actId="114"/>
          <ac:spMkLst>
            <pc:docMk/>
            <pc:sldMk cId="3983236087" sldId="34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2:45.728" v="34262" actId="113"/>
        <pc:sldMkLst>
          <pc:docMk/>
          <pc:sldMk cId="2018643726" sldId="341"/>
        </pc:sldMkLst>
        <pc:spChg chg="mod">
          <ac:chgData name="Wind-Larsen, Taus (SGRE OF TE NAC TD SYC)" userId="909f4c56-f0bd-48e2-b5e6-c85fd07560b7" providerId="ADAL" clId="{CAC997D2-2045-4FBD-88AA-2930340D2AF4}" dt="2022-02-11T13:32:45.728" v="34262" actId="113"/>
          <ac:spMkLst>
            <pc:docMk/>
            <pc:sldMk cId="2018643726" sldId="34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4:02.430" v="34556" actId="113"/>
        <pc:sldMkLst>
          <pc:docMk/>
          <pc:sldMk cId="1611808819" sldId="342"/>
        </pc:sldMkLst>
        <pc:spChg chg="mod">
          <ac:chgData name="Wind-Larsen, Taus (SGRE OF TE NAC TD SYC)" userId="909f4c56-f0bd-48e2-b5e6-c85fd07560b7" providerId="ADAL" clId="{CAC997D2-2045-4FBD-88AA-2930340D2AF4}" dt="2022-02-11T13:34:02.430" v="34556" actId="113"/>
          <ac:spMkLst>
            <pc:docMk/>
            <pc:sldMk cId="1611808819" sldId="34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43:07.280" v="34870" actId="113"/>
        <pc:sldMkLst>
          <pc:docMk/>
          <pc:sldMk cId="1831290368" sldId="343"/>
        </pc:sldMkLst>
        <pc:spChg chg="mod">
          <ac:chgData name="Wind-Larsen, Taus (SGRE OF TE NAC TD SYC)" userId="909f4c56-f0bd-48e2-b5e6-c85fd07560b7" providerId="ADAL" clId="{CAC997D2-2045-4FBD-88AA-2930340D2AF4}" dt="2022-02-11T13:43:07.280" v="34870" actId="113"/>
          <ac:spMkLst>
            <pc:docMk/>
            <pc:sldMk cId="1831290368" sldId="343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5:06:01.195" v="36839" actId="113"/>
        <pc:sldMkLst>
          <pc:docMk/>
          <pc:sldMk cId="2138284291" sldId="344"/>
        </pc:sldMkLst>
        <pc:spChg chg="mod">
          <ac:chgData name="Wind-Larsen, Taus (SGRE OF TE NAC TD SYC)" userId="909f4c56-f0bd-48e2-b5e6-c85fd07560b7" providerId="ADAL" clId="{CAC997D2-2045-4FBD-88AA-2930340D2AF4}" dt="2022-02-11T15:02:10.188" v="36750" actId="948"/>
          <ac:spMkLst>
            <pc:docMk/>
            <pc:sldMk cId="2138284291" sldId="344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8" creationId="{6280E865-B159-4344-BC65-FF5157CEC0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06.990" v="36738"/>
          <ac:spMkLst>
            <pc:docMk/>
            <pc:sldMk cId="2138284291" sldId="344"/>
            <ac:spMk id="9" creationId="{B8566EF8-F854-47BD-9C7E-9DAE13BCDE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10.261" v="36789"/>
          <ac:spMkLst>
            <pc:docMk/>
            <pc:sldMk cId="2138284291" sldId="344"/>
            <ac:spMk id="10" creationId="{BEB8CA9C-4673-4FBE-A907-D4C86B13BC6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6:01.195" v="36839" actId="113"/>
          <ac:spMkLst>
            <pc:docMk/>
            <pc:sldMk cId="2138284291" sldId="344"/>
            <ac:spMk id="11" creationId="{E030C62C-FB27-4018-AE64-147E2B87151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5:02:10.264" v="36791"/>
          <ac:graphicFrameMkLst>
            <pc:docMk/>
            <pc:sldMk cId="2138284291" sldId="344"/>
            <ac:graphicFrameMk id="7" creationId="{C2E1FD7A-6B81-4A2C-A69F-E9E0FBC2131B}"/>
          </ac:graphicFrameMkLst>
        </pc:graphicFrameChg>
        <pc:picChg chg="add mod">
          <ac:chgData name="Wind-Larsen, Taus (SGRE OF TE NAC TD SYC)" userId="909f4c56-f0bd-48e2-b5e6-c85fd07560b7" providerId="ADAL" clId="{CAC997D2-2045-4FBD-88AA-2930340D2AF4}" dt="2022-02-11T15:05:08.483" v="36794" actId="14100"/>
          <ac:picMkLst>
            <pc:docMk/>
            <pc:sldMk cId="2138284291" sldId="344"/>
            <ac:picMk id="3074" creationId="{E1EC379D-C155-4AF0-ACEB-0FC827D8B7FB}"/>
          </ac:picMkLst>
        </pc:picChg>
      </pc:sldChg>
      <pc:sldMasterChg chg="modSp mod">
        <pc:chgData name="Wind-Larsen, Taus (SGRE OF TE NAC TD SYC)" userId="909f4c56-f0bd-48e2-b5e6-c85fd07560b7" providerId="ADAL" clId="{CAC997D2-2045-4FBD-88AA-2930340D2AF4}" dt="2022-02-11T09:56:52.868" v="1031" actId="20577"/>
        <pc:sldMasterMkLst>
          <pc:docMk/>
          <pc:sldMasterMk cId="72354714" sldId="2147483648"/>
        </pc:sldMasterMkLst>
        <pc:spChg chg="mod">
          <ac:chgData name="Wind-Larsen, Taus (SGRE OF TE NAC TD SYC)" userId="909f4c56-f0bd-48e2-b5e6-c85fd07560b7" providerId="ADAL" clId="{CAC997D2-2045-4FBD-88AA-2930340D2AF4}" dt="2022-02-11T09:56:52.868" v="1031" actId="20577"/>
          <ac:spMkLst>
            <pc:docMk/>
            <pc:sldMasterMk cId="72354714" sldId="2147483648"/>
            <ac:spMk id="10" creationId="{00000000-0000-0000-0000-000000000000}"/>
          </ac:spMkLst>
        </pc:spChg>
      </pc:sldMasterChg>
      <pc:sldMasterChg chg="del delSldLayout">
        <pc:chgData name="Wind-Larsen, Taus (SGRE OF TE NAC TD SYC)" userId="909f4c56-f0bd-48e2-b5e6-c85fd07560b7" providerId="ADAL" clId="{CAC997D2-2045-4FBD-88AA-2930340D2AF4}" dt="2022-02-11T08:27:00.048" v="237" actId="47"/>
        <pc:sldMasterMkLst>
          <pc:docMk/>
          <pc:sldMasterMk cId="3715686928" sldId="2147483684"/>
        </pc:sldMasterMkLst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232989660" sldId="214748368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25831905" sldId="214748368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539714103" sldId="214748368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509662867" sldId="214748368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504210863" sldId="214748368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914142637" sldId="214748369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903509852" sldId="2147483691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9973358" sldId="2147483692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871977149" sldId="2147483693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45535760" sldId="2147483694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111015061" sldId="214748369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847143002" sldId="214748369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05587442" sldId="214748369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098220382" sldId="214748369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134576021" sldId="214748369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440871879" sldId="214748370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722380198" sldId="2147483701"/>
          </pc:sldLayoutMkLst>
        </pc:sldLayoutChg>
      </pc:sldMasterChg>
    </pc:docChg>
  </pc:docChgLst>
  <pc:docChgLst>
    <pc:chgData name="Wind-Larsen, Taus (SGRE TE N NT SYC&amp;MAT)" userId="S::taus.wind-larsen@siemensgamesa.com::909f4c56-f0bd-48e2-b5e6-c85fd07560b7" providerId="AD" clId="Web-{78446AA9-08D0-93A1-C987-722A4A0BADBD}"/>
    <pc:docChg chg="modSld">
      <pc:chgData name="Wind-Larsen, Taus (SGRE TE N NT SYC&amp;MAT)" userId="S::taus.wind-larsen@siemensgamesa.com::909f4c56-f0bd-48e2-b5e6-c85fd07560b7" providerId="AD" clId="Web-{78446AA9-08D0-93A1-C987-722A4A0BADBD}" dt="2023-02-22T22:28:13.821" v="5"/>
      <pc:docMkLst>
        <pc:docMk/>
      </pc:docMkLst>
      <pc:sldChg chg="addSp delSp modSp">
        <pc:chgData name="Wind-Larsen, Taus (SGRE TE N NT SYC&amp;MAT)" userId="S::taus.wind-larsen@siemensgamesa.com::909f4c56-f0bd-48e2-b5e6-c85fd07560b7" providerId="AD" clId="Web-{78446AA9-08D0-93A1-C987-722A4A0BADBD}" dt="2023-02-22T22:28:13.821" v="5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78446AA9-08D0-93A1-C987-722A4A0BADBD}" dt="2023-02-22T22:28:11.649" v="4" actId="20577"/>
          <ac:spMkLst>
            <pc:docMk/>
            <pc:sldMk cId="3672746191" sldId="313"/>
            <ac:spMk id="3" creationId="{8E0AAC11-3202-46A9-8EB4-8DF0337F24B7}"/>
          </ac:spMkLst>
        </pc:spChg>
        <pc:graphicFrameChg chg="add del">
          <ac:chgData name="Wind-Larsen, Taus (SGRE TE N NT SYC&amp;MAT)" userId="S::taus.wind-larsen@siemensgamesa.com::909f4c56-f0bd-48e2-b5e6-c85fd07560b7" providerId="AD" clId="Web-{78446AA9-08D0-93A1-C987-722A4A0BADBD}" dt="2023-02-22T22:28:13.821" v="5"/>
          <ac:graphicFrameMkLst>
            <pc:docMk/>
            <pc:sldMk cId="3672746191" sldId="313"/>
            <ac:graphicFrameMk id="13" creationId="{FC76582A-541B-4268-A18B-71CD41EB0514}"/>
          </ac:graphicFrameMkLst>
        </pc:graphicFrameChg>
      </pc:sldChg>
    </pc:docChg>
  </pc:docChgLst>
  <pc:docChgLst>
    <pc:chgData name="Jakobsen, Lone (SGRE OF OPS MFG BDK SCL SM)" userId="b97f7784-7dac-40b5-a391-efabebb228d3" providerId="ADAL" clId="{F01D4D53-011C-4EB6-97C1-55E4155B0CC6}"/>
    <pc:docChg chg="modSld modNotesMaster modHandout">
      <pc:chgData name="Jakobsen, Lone (SGRE OF OPS MFG BDK SCL SM)" userId="b97f7784-7dac-40b5-a391-efabebb228d3" providerId="ADAL" clId="{F01D4D53-011C-4EB6-97C1-55E4155B0CC6}" dt="2022-02-23T08:40:51.985" v="0"/>
      <pc:docMkLst>
        <pc:docMk/>
      </pc:docMkLst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8370001" sldId="27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563952106" sldId="28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20544008" sldId="28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86349833" sldId="29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40042121" sldId="29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483631185" sldId="29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176653745" sldId="29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84083800" sldId="31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672746191" sldId="31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09066160" sldId="31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558325371" sldId="32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087205575" sldId="32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71835148" sldId="32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839263946" sldId="33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141118460" sldId="33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768869850" sldId="33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521793" sldId="33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82169009" sldId="33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47106097" sldId="335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995067089" sldId="33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79969689" sldId="337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84079554" sldId="338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31909040" sldId="33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983236087" sldId="34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018643726" sldId="34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1808819" sldId="34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31290368" sldId="34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138284291" sldId="344"/>
        </pc:sldMkLst>
      </pc:sldChg>
    </pc:docChg>
  </pc:docChgLst>
  <pc:docChgLst>
    <pc:chgData name="Schadwinkel, Tabea (SGRE F ON NE&amp;ME PM PD2)" userId="S::tabea.schadwinkel@siemensgamesa.com::1ebe15d8-8799-439a-b1b7-c2534eb557bc" providerId="AD" clId="Web-{DE321735-CC43-3BAC-E8EB-5E1D859EBF19}"/>
    <pc:docChg chg="modSld">
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<pc:docMkLst>
        <pc:docMk/>
      </pc:docMkLst>
      <pc:sldChg chg="addSp delSp modSp">
  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  <pc:sldMkLst>
          <pc:docMk/>
          <pc:sldMk cId="3047106097" sldId="335"/>
        </pc:sldMkLst>
        <pc:spChg chg="del">
          <ac:chgData name="Schadwinkel, Tabea (SGRE F ON NE&amp;ME PM PD2)" userId="S::tabea.schadwinkel@siemensgamesa.com::1ebe15d8-8799-439a-b1b7-c2534eb557bc" providerId="AD" clId="Web-{DE321735-CC43-3BAC-E8EB-5E1D859EBF19}" dt="2022-02-23T15:12:12.297" v="0"/>
          <ac:spMkLst>
            <pc:docMk/>
            <pc:sldMk cId="3047106097" sldId="335"/>
            <ac:spMk id="8" creationId="{A313AF80-BE30-4ACF-A4E7-90D38259DC35}"/>
          </ac:spMkLst>
        </pc:spChg>
        <pc:picChg chg="add mod ord">
          <ac:chgData name="Schadwinkel, Tabea (SGRE F ON NE&amp;ME PM PD2)" userId="S::tabea.schadwinkel@siemensgamesa.com::1ebe15d8-8799-439a-b1b7-c2534eb557bc" providerId="AD" clId="Web-{DE321735-CC43-3BAC-E8EB-5E1D859EBF19}" dt="2022-02-23T15:12:18.688" v="1" actId="14100"/>
          <ac:picMkLst>
            <pc:docMk/>
            <pc:sldMk cId="3047106097" sldId="335"/>
            <ac:picMk id="3" creationId="{08C668FB-99A0-43E6-9D49-300FA4436BBE}"/>
          </ac:picMkLst>
        </pc:picChg>
      </pc:sldChg>
    </pc:docChg>
  </pc:docChgLst>
  <pc:docChgLst>
    <pc:chgData name="Lynnerup, Michelle (SGRE SE R NE&amp;ME SP&amp;S RM)" userId="S::michelle.lynnerup@siemensgamesa.com::72c21a01-62b5-4fd6-8407-cdfcc0b436f1" providerId="AD" clId="Web-{BE289469-314E-53EF-D2E0-2B79ECADC97B}"/>
    <pc:docChg chg="addSld delSld modSld modSection">
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<pc:docMkLst>
        <pc:docMk/>
      </pc:docMkLst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<pc:sldMkLst>
          <pc:docMk/>
          <pc:sldMk cId="469205521" sldId="260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2:10.717" v="11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addSp delSp modSp">
        <p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<pc:sldMkLst>
          <pc:docMk/>
          <pc:sldMk cId="3526056995" sldId="261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5:15.165" v="918" actId="20577"/>
          <ac:spMkLst>
            <pc:docMk/>
            <pc:sldMk cId="3526056995" sldId="261"/>
            <ac:spMk id="2" creationId="{DA23552A-D562-47F1-AF5B-5812FC2858D2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6:30.998" v="966" actId="14100"/>
          <ac:spMkLst>
            <pc:docMk/>
            <pc:sldMk cId="3526056995" sldId="261"/>
            <ac:spMk id="3" creationId="{6E85C196-241B-4EAD-AC23-21A7D671341B}"/>
          </ac:spMkLst>
        </pc:spChg>
        <pc:spChg chg="add">
          <ac:chgData name="Lynnerup, Michelle (SGRE SE R NE&amp;ME SP&amp;S RM)" userId="S::michelle.lynnerup@siemensgamesa.com::72c21a01-62b5-4fd6-8407-cdfcc0b436f1" providerId="AD" clId="Web-{BE289469-314E-53EF-D2E0-2B79ECADC97B}" dt="2022-02-14T08:45:54.740" v="907"/>
          <ac:spMkLst>
            <pc:docMk/>
            <pc:sldMk cId="3526056995" sldId="261"/>
            <ac:spMk id="8" creationId="{9519D6DD-F778-4EF2-BA7B-7BDC8117A591}"/>
          </ac:spMkLst>
        </pc:spChg>
        <pc:picChg chg="del">
          <ac:chgData name="Lynnerup, Michelle (SGRE SE R NE&amp;ME SP&amp;S RM)" userId="S::michelle.lynnerup@siemensgamesa.com::72c21a01-62b5-4fd6-8407-cdfcc0b436f1" providerId="AD" clId="Web-{BE289469-314E-53EF-D2E0-2B79ECADC97B}" dt="2022-02-14T08:42:58.385" v="900"/>
          <ac:picMkLst>
            <pc:docMk/>
            <pc:sldMk cId="3526056995" sldId="261"/>
            <ac:picMk id="4" creationId="{231BCFF6-DF90-4A8A-9D8D-B374F39D6B85}"/>
          </ac:picMkLst>
        </pc:picChg>
        <pc:picChg chg="add del mod">
          <ac:chgData name="Lynnerup, Michelle (SGRE SE R NE&amp;ME SP&amp;S RM)" userId="S::michelle.lynnerup@siemensgamesa.com::72c21a01-62b5-4fd6-8407-cdfcc0b436f1" providerId="AD" clId="Web-{BE289469-314E-53EF-D2E0-2B79ECADC97B}" dt="2022-02-14T08:43:32.231" v="903"/>
          <ac:picMkLst>
            <pc:docMk/>
            <pc:sldMk cId="3526056995" sldId="261"/>
            <ac:picMk id="5" creationId="{6696F163-59F1-4165-B194-0755D96F5430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  <ac:picMkLst>
            <pc:docMk/>
            <pc:sldMk cId="3526056995" sldId="261"/>
            <ac:picMk id="7" creationId="{3C0C5D5B-30B8-4FE0-A3AE-5E776BAA2885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5:06.571" v="916" actId="14100"/>
          <ac:picMkLst>
            <pc:docMk/>
            <pc:sldMk cId="3526056995" sldId="261"/>
            <ac:picMk id="9" creationId="{474941F5-EF9E-49BC-AB71-ECAF97ED8BA8}"/>
          </ac:picMkLst>
        </pc:pic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57:46.690" v="968"/>
        <pc:sldMkLst>
          <pc:docMk/>
          <pc:sldMk cId="3674548677" sldId="263"/>
        </pc:sldMkLst>
      </pc:sldChg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<pc:sldMkLst>
          <pc:docMk/>
          <pc:sldMk cId="577488301" sldId="318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8:11.036" v="986" actId="20577"/>
          <ac:spMkLst>
            <pc:docMk/>
            <pc:sldMk cId="577488301" sldId="318"/>
            <ac:spMk id="2" creationId="{7A235177-43FE-4983-8553-D9E96F2A891D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  <ac:spMkLst>
            <pc:docMk/>
            <pc:sldMk cId="577488301" sldId="318"/>
            <ac:spMk id="3" creationId="{FACB4378-C95C-45D7-942D-D6F00751661C}"/>
          </ac:spMkLst>
        </pc:sp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40:27.782" v="899"/>
        <pc:sldMkLst>
          <pc:docMk/>
          <pc:sldMk cId="451751657" sldId="319"/>
        </pc:sldMkLst>
      </pc:sldChg>
      <pc:sldChg chg="addSp delSp modSp add replId">
        <p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<pc:sldMkLst>
          <pc:docMk/>
          <pc:sldMk cId="1211001049" sldId="345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24:16.409" v="510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33:38.568" v="877" actId="14100"/>
          <ac:spMkLst>
            <pc:docMk/>
            <pc:sldMk cId="1211001049" sldId="345"/>
            <ac:spMk id="3" creationId="{7E6D3795-4130-41B5-A393-34B028EEB716}"/>
          </ac:spMkLst>
        </pc:spChg>
        <pc:spChg chg="add del">
          <ac:chgData name="Lynnerup, Michelle (SGRE SE R NE&amp;ME SP&amp;S RM)" userId="S::michelle.lynnerup@siemensgamesa.com::72c21a01-62b5-4fd6-8407-cdfcc0b436f1" providerId="AD" clId="Web-{BE289469-314E-53EF-D2E0-2B79ECADC97B}" dt="2022-02-14T08:24:30.222" v="512"/>
          <ac:spMkLst>
            <pc:docMk/>
            <pc:sldMk cId="1211001049" sldId="345"/>
            <ac:spMk id="4" creationId="{F97CEC16-BBD2-4E90-9A88-C0AAEA61DE98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25:55.009" v="539" actId="20577"/>
          <ac:spMkLst>
            <pc:docMk/>
            <pc:sldMk cId="1211001049" sldId="345"/>
            <ac:spMk id="5" creationId="{7792343C-9C62-4AA8-B902-AF5FAB3535C4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  <ac:spMkLst>
            <pc:docMk/>
            <pc:sldMk cId="1211001049" sldId="345"/>
            <ac:spMk id="6" creationId="{25A36868-9D2A-4955-94AD-09DBFA073DCB}"/>
          </ac:spMkLst>
        </pc:spChg>
      </pc:sldChg>
    </pc:docChg>
  </pc:docChgLst>
  <pc:docChgLst>
    <pc:chgData name="Wind-Larsen, Taus (SGRE OF TE NAC TD SYC)" userId="909f4c56-f0bd-48e2-b5e6-c85fd07560b7" providerId="ADAL" clId="{1E5C054E-E3B6-424B-AA8A-AA7446ADABE8}"/>
    <pc:docChg chg="undo custSel addSld delSld modSld">
      <pc:chgData name="Wind-Larsen, Taus (SGRE OF TE NAC TD SYC)" userId="909f4c56-f0bd-48e2-b5e6-c85fd07560b7" providerId="ADAL" clId="{1E5C054E-E3B6-424B-AA8A-AA7446ADABE8}" dt="2022-02-23T17:57:18.331" v="325" actId="114"/>
      <pc:docMkLst>
        <pc:docMk/>
      </pc:docMkLst>
      <pc:sldChg chg="modSp">
        <pc:chgData name="Wind-Larsen, Taus (SGRE OF TE NAC TD SYC)" userId="909f4c56-f0bd-48e2-b5e6-c85fd07560b7" providerId="ADAL" clId="{1E5C054E-E3B6-424B-AA8A-AA7446ADABE8}" dt="2022-02-21T19:12:35.383" v="60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1E5C054E-E3B6-424B-AA8A-AA7446ADABE8}" dt="2022-02-21T19:12:05.626" v="17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1E5C054E-E3B6-424B-AA8A-AA7446ADABE8}" dt="2022-02-21T19:12:35.383" v="60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57:18.331" v="325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1E5C054E-E3B6-424B-AA8A-AA7446ADABE8}" dt="2022-02-23T17:57:18.331" v="325" actId="114"/>
          <ac:spMkLst>
            <pc:docMk/>
            <pc:sldMk cId="1840042121" sldId="293"/>
            <ac:spMk id="10" creationId="{BD5C9BD0-DEBA-441F-9811-E50C4D0B74CF}"/>
          </ac:spMkLst>
        </pc:spChg>
      </pc:sldChg>
      <pc:sldChg chg="modSp add mod">
        <pc:chgData name="Wind-Larsen, Taus (SGRE OF TE NAC TD SYC)" userId="909f4c56-f0bd-48e2-b5e6-c85fd07560b7" providerId="ADAL" clId="{1E5C054E-E3B6-424B-AA8A-AA7446ADABE8}" dt="2022-02-23T15:18:39.995" v="238" actId="20577"/>
        <pc:sldMkLst>
          <pc:docMk/>
          <pc:sldMk cId="1468755633" sldId="299"/>
        </pc:sldMkLst>
        <pc:spChg chg="mod">
          <ac:chgData name="Wind-Larsen, Taus (SGRE OF TE NAC TD SYC)" userId="909f4c56-f0bd-48e2-b5e6-c85fd07560b7" providerId="ADAL" clId="{1E5C054E-E3B6-424B-AA8A-AA7446ADABE8}" dt="2022-02-23T15:17:06.602" v="183" actId="20577"/>
          <ac:spMkLst>
            <pc:docMk/>
            <pc:sldMk cId="1468755633" sldId="299"/>
            <ac:spMk id="4" creationId="{3F2A2BFC-49FE-4E81-A31B-E79625429A58}"/>
          </ac:spMkLst>
        </pc:spChg>
        <pc:spChg chg="mod">
          <ac:chgData name="Wind-Larsen, Taus (SGRE OF TE NAC TD SYC)" userId="909f4c56-f0bd-48e2-b5e6-c85fd07560b7" providerId="ADAL" clId="{1E5C054E-E3B6-424B-AA8A-AA7446ADABE8}" dt="2022-02-23T15:18:39.995" v="238" actId="20577"/>
          <ac:spMkLst>
            <pc:docMk/>
            <pc:sldMk cId="1468755633" sldId="299"/>
            <ac:spMk id="9" creationId="{14CE2AEB-7EE8-473F-8D24-FDFEC13E6DB1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39:44.882" v="260" actId="20577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1E5C054E-E3B6-424B-AA8A-AA7446ADABE8}" dt="2022-02-23T17:39:44.882" v="260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add del mod setBg delDesignElem">
        <pc:chgData name="Wind-Larsen, Taus (SGRE OF TE NAC TD SYC)" userId="909f4c56-f0bd-48e2-b5e6-c85fd07560b7" providerId="ADAL" clId="{1E5C054E-E3B6-424B-AA8A-AA7446ADABE8}" dt="2022-02-21T21:56:35.839" v="180"/>
        <pc:sldMkLst>
          <pc:docMk/>
          <pc:sldMk cId="1384816204" sldId="346"/>
        </pc:sldMkLst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2" creationId="{512B93D3-EE9A-4219-8740-735537A90D00}"/>
          </ac:spMkLst>
        </pc:spChg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3" creationId="{CB076D09-E250-47CF-ACB0-3817DBD4F843}"/>
          </ac:spMkLst>
        </pc:spChg>
        <pc:spChg chg="add del mod modVis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" creationId="{FD42331D-42C7-469F-9387-EC61B28BB0FC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0" creationId="{5A0118C5-4F8D-4CF4-BADD-53FEACC6C42A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1" creationId="{3F785A8F-002E-4E7C-A4EE-0423F24488BB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3" creationId="{5552F9A4-B078-4FA2-A29A-E70F604511FF}"/>
          </ac:spMkLst>
        </pc:s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37" creationId="{7F54B1E7-DA9D-4422-98EA-A4C079A0C4AB}"/>
          </ac:grpSpMkLst>
        </pc:gr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45" creationId="{E7EEFC47-5A1A-4BC0-9CCE-8E2F1C883779}"/>
          </ac:grpSpMkLst>
        </pc:grpChg>
        <pc:graphicFrameChg chg="add del mod ord modVis">
          <ac:chgData name="Wind-Larsen, Taus (SGRE OF TE NAC TD SYC)" userId="909f4c56-f0bd-48e2-b5e6-c85fd07560b7" providerId="ADAL" clId="{1E5C054E-E3B6-424B-AA8A-AA7446ADABE8}" dt="2022-02-21T21:56:35.839" v="180"/>
          <ac:graphicFrameMkLst>
            <pc:docMk/>
            <pc:sldMk cId="1384816204" sldId="346"/>
            <ac:graphicFrameMk id="5" creationId="{F8CCAFF5-DC29-43FD-8945-4F6DF22C499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828994506806781E-2"/>
          <c:y val="3.9755351681957186E-2"/>
          <c:w val="0.919751612132792"/>
          <c:h val="0.9204892966360855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3883448770002389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CB-4D59-84FD-202FA160EA7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CB-4D59-84FD-202FA160EA70}"/>
                </c:ext>
              </c:extLst>
            </c:dLbl>
            <c:dLbl>
              <c:idx val="2"/>
              <c:layout>
                <c:manualLayout>
                  <c:x val="0.1614521136852161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5CB-4D59-84FD-202FA160EA7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19</c:v>
                </c:pt>
                <c:pt idx="1">
                  <c:v>1324</c:v>
                </c:pt>
                <c:pt idx="2">
                  <c:v>-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CB-4D59-84FD-202FA160EA7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5CB-4D59-84FD-202FA160EA7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5CB-4D59-84FD-202FA160EA70}"/>
                </c:ext>
              </c:extLst>
            </c:dLbl>
            <c:dLbl>
              <c:idx val="2"/>
              <c:layout>
                <c:manualLayout>
                  <c:x val="0.127537616431812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CB-4D59-84FD-202FA160EA7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752</c:v>
                </c:pt>
                <c:pt idx="1">
                  <c:v>1122</c:v>
                </c:pt>
                <c:pt idx="2">
                  <c:v>-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5CB-4D59-84FD-202FA160EA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79596448"/>
        <c:axId val="1"/>
      </c:barChart>
      <c:catAx>
        <c:axId val="11795964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324"/>
          <c:min val="-505"/>
        </c:scaling>
        <c:delete val="1"/>
        <c:axPos val="t"/>
        <c:numFmt formatCode="General" sourceLinked="1"/>
        <c:majorTickMark val="out"/>
        <c:minorTickMark val="none"/>
        <c:tickLblPos val="nextTo"/>
        <c:crossAx val="1179596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24510717614158E-3"/>
          <c:y val="0.18828932261768083"/>
          <c:w val="0.98061509785647716"/>
          <c:h val="0.752009184845005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6808266360505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9E-4704-B0C7-BF5948EA1454}"/>
                </c:ext>
              </c:extLst>
            </c:dLbl>
            <c:dLbl>
              <c:idx val="1"/>
              <c:layout>
                <c:manualLayout>
                  <c:x val="0"/>
                  <c:y val="-0.28932261768082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9E-4704-B0C7-BF5948EA1454}"/>
                </c:ext>
              </c:extLst>
            </c:dLbl>
            <c:dLbl>
              <c:idx val="2"/>
              <c:layout>
                <c:manualLayout>
                  <c:x val="0"/>
                  <c:y val="-0.37887485648679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9E-4704-B0C7-BF5948EA1454}"/>
                </c:ext>
              </c:extLst>
            </c:dLbl>
            <c:dLbl>
              <c:idx val="3"/>
              <c:layout>
                <c:manualLayout>
                  <c:x val="0"/>
                  <c:y val="-0.471871412169919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9E-4704-B0C7-BF5948EA1454}"/>
                </c:ext>
              </c:extLst>
            </c:dLbl>
            <c:dLbl>
              <c:idx val="4"/>
              <c:layout>
                <c:manualLayout>
                  <c:x val="0"/>
                  <c:y val="-0.365097588978186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9E-4704-B0C7-BF5948EA1454}"/>
                </c:ext>
              </c:extLst>
            </c:dLbl>
            <c:dLbl>
              <c:idx val="5"/>
              <c:layout>
                <c:manualLayout>
                  <c:x val="0"/>
                  <c:y val="-0.43398392652123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9E-4704-B0C7-BF5948EA1454}"/>
                </c:ext>
              </c:extLst>
            </c:dLbl>
            <c:dLbl>
              <c:idx val="6"/>
              <c:layout>
                <c:manualLayout>
                  <c:x val="0"/>
                  <c:y val="-0.346727898966704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B9E-4704-B0C7-BF5948EA14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47.37099999999998</c:v>
                </c:pt>
                <c:pt idx="1">
                  <c:v>832.34400000000005</c:v>
                </c:pt>
                <c:pt idx="2">
                  <c:v>1211.8599999999999</c:v>
                </c:pt>
                <c:pt idx="3">
                  <c:v>1605.999</c:v>
                </c:pt>
                <c:pt idx="4">
                  <c:v>1152.5530000000001</c:v>
                </c:pt>
                <c:pt idx="5">
                  <c:v>1443.4159999999999</c:v>
                </c:pt>
                <c:pt idx="6">
                  <c:v>1073.43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B9E-4704-B0C7-BF5948EA14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1445368"/>
        <c:axId val="1"/>
      </c:barChart>
      <c:catAx>
        <c:axId val="1141445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41445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87992315081652E-2"/>
          <c:y val="0.16285998013902681"/>
          <c:w val="0.97502401536983674"/>
          <c:h val="0.7855014895729890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670307845084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B51-4D2A-ACD1-553B2F0713B2}"/>
                </c:ext>
              </c:extLst>
            </c:dLbl>
            <c:dLbl>
              <c:idx val="1"/>
              <c:layout>
                <c:manualLayout>
                  <c:x val="0"/>
                  <c:y val="-0.417080436941410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51-4D2A-ACD1-553B2F0713B2}"/>
                </c:ext>
              </c:extLst>
            </c:dLbl>
            <c:dLbl>
              <c:idx val="2"/>
              <c:layout>
                <c:manualLayout>
                  <c:x val="0"/>
                  <c:y val="-0.319761668321747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B51-4D2A-ACD1-553B2F0713B2}"/>
                </c:ext>
              </c:extLst>
            </c:dLbl>
            <c:dLbl>
              <c:idx val="3"/>
              <c:layout>
                <c:manualLayout>
                  <c:x val="0"/>
                  <c:y val="-0.451837140019860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51-4D2A-ACD1-553B2F0713B2}"/>
                </c:ext>
              </c:extLst>
            </c:dLbl>
            <c:dLbl>
              <c:idx val="4"/>
              <c:layout>
                <c:manualLayout>
                  <c:x val="0"/>
                  <c:y val="-0.158887785501489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B51-4D2A-ACD1-553B2F0713B2}"/>
                </c:ext>
              </c:extLst>
            </c:dLbl>
            <c:dLbl>
              <c:idx val="5"/>
              <c:layout>
                <c:manualLayout>
                  <c:x val="0"/>
                  <c:y val="-0.216484607745779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B51-4D2A-ACD1-553B2F0713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288.904</c:v>
                </c:pt>
                <c:pt idx="1">
                  <c:v>1951.1310000000001</c:v>
                </c:pt>
                <c:pt idx="2">
                  <c:v>1379.1120000000001</c:v>
                </c:pt>
                <c:pt idx="3">
                  <c:v>2156.6509999999998</c:v>
                </c:pt>
                <c:pt idx="4">
                  <c:v>526.3900000000001</c:v>
                </c:pt>
                <c:pt idx="5">
                  <c:v>782.15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B51-4D2A-ACD1-553B2F0713B2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8.1652257444764648E-3"/>
                  <c:y val="-0.32174776564051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B51-4D2A-ACD1-553B2F0713B2}"/>
                </c:ext>
              </c:extLst>
            </c:dLbl>
            <c:dLbl>
              <c:idx val="1"/>
              <c:layout>
                <c:manualLayout>
                  <c:x val="8.4053794428434192E-3"/>
                  <c:y val="-0.263157894736842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B51-4D2A-ACD1-553B2F0713B2}"/>
                </c:ext>
              </c:extLst>
            </c:dLbl>
            <c:dLbl>
              <c:idx val="2"/>
              <c:layout>
                <c:manualLayout>
                  <c:x val="0"/>
                  <c:y val="-1.48957298907646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B51-4D2A-ACD1-553B2F0713B2}"/>
                </c:ext>
              </c:extLst>
            </c:dLbl>
            <c:dLbl>
              <c:idx val="3"/>
              <c:layout>
                <c:manualLayout>
                  <c:x val="0"/>
                  <c:y val="-4.965243296921549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B51-4D2A-ACD1-553B2F0713B2}"/>
                </c:ext>
              </c:extLst>
            </c:dLbl>
            <c:dLbl>
              <c:idx val="4"/>
              <c:layout>
                <c:manualLayout>
                  <c:x val="0"/>
                  <c:y val="-7.94438927507447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B51-4D2A-ACD1-553B2F0713B2}"/>
                </c:ext>
              </c:extLst>
            </c:dLbl>
            <c:dLbl>
              <c:idx val="5"/>
              <c:layout>
                <c:manualLayout>
                  <c:x val="0"/>
                  <c:y val="-9.53326713008937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B51-4D2A-ACD1-553B2F0713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391.424</c:v>
                </c:pt>
                <c:pt idx="1">
                  <c:v>1054.3979999999999</c:v>
                </c:pt>
                <c:pt idx="2">
                  <c:v>107.42700000000001</c:v>
                </c:pt>
                <c:pt idx="3">
                  <c:v>79.17</c:v>
                </c:pt>
                <c:pt idx="4">
                  <c:v>87.882999999999996</c:v>
                </c:pt>
                <c:pt idx="5">
                  <c:v>340.120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B51-4D2A-ACD1-553B2F0713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25554240"/>
        <c:axId val="1"/>
      </c:barChart>
      <c:catAx>
        <c:axId val="1125554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88.9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25554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55696202531647E-2"/>
          <c:y val="3.6931818181818184E-2"/>
          <c:w val="0.96708860759493676"/>
          <c:h val="0.9261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-0.316051136363636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6D5-4AF7-8396-CE63D9156B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606</c:v>
                </c:pt>
                <c:pt idx="1">
                  <c:v>1153</c:v>
                </c:pt>
                <c:pt idx="2">
                  <c:v>1443</c:v>
                </c:pt>
                <c:pt idx="3">
                  <c:v>1073</c:v>
                </c:pt>
                <c:pt idx="4">
                  <c:v>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D5-4AF7-8396-CE63D9156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65194960"/>
        <c:axId val="1"/>
      </c:barChart>
      <c:lineChart>
        <c:grouping val="standard"/>
        <c:varyColors val="0"/>
        <c:ser>
          <c:idx val="1"/>
          <c:order val="1"/>
          <c:spPr>
            <a:ln w="38100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D5-4AF7-8396-CE63D9156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5194960"/>
        <c:axId val="1"/>
      </c:lineChart>
      <c:catAx>
        <c:axId val="1265194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5194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60393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553998"/>
          </a:xfrm>
        </p:spPr>
        <p:txBody>
          <a:bodyPr/>
          <a:lstStyle/>
          <a:p>
            <a:r>
              <a:rPr lang="da-DK" err="1"/>
              <a:t>Remember</a:t>
            </a:r>
            <a:r>
              <a:rPr lang="da-DK"/>
              <a:t> to </a:t>
            </a:r>
            <a:r>
              <a:rPr lang="da-DK" err="1"/>
              <a:t>take</a:t>
            </a:r>
            <a:r>
              <a:rPr lang="da-DK"/>
              <a:t> on </a:t>
            </a:r>
            <a:r>
              <a:rPr lang="da-DK" err="1"/>
              <a:t>discussion</a:t>
            </a:r>
            <a:r>
              <a:rPr lang="da-DK"/>
              <a:t> on gifts</a:t>
            </a:r>
          </a:p>
          <a:p>
            <a:r>
              <a:rPr lang="da-DK"/>
              <a:t>Point out </a:t>
            </a:r>
            <a:r>
              <a:rPr lang="da-DK" err="1"/>
              <a:t>amount</a:t>
            </a:r>
            <a:r>
              <a:rPr lang="da-DK"/>
              <a:t> – </a:t>
            </a:r>
            <a:r>
              <a:rPr lang="da-DK" err="1"/>
              <a:t>one</a:t>
            </a:r>
            <a:r>
              <a:rPr lang="da-DK"/>
              <a:t> more slide?</a:t>
            </a:r>
          </a:p>
          <a:p>
            <a:r>
              <a:rPr lang="da-DK" err="1"/>
              <a:t>Maybe</a:t>
            </a:r>
            <a:r>
              <a:rPr lang="da-DK"/>
              <a:t>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can</a:t>
            </a:r>
            <a:r>
              <a:rPr lang="da-DK"/>
              <a:t> </a:t>
            </a:r>
            <a:r>
              <a:rPr lang="da-DK" err="1"/>
              <a:t>make</a:t>
            </a:r>
            <a:r>
              <a:rPr lang="da-DK"/>
              <a:t> a guideline for the futur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369332"/>
          </a:xfrm>
        </p:spPr>
        <p:txBody>
          <a:bodyPr/>
          <a:lstStyle/>
          <a:p>
            <a:r>
              <a:rPr lang="da-DK"/>
              <a:t>1950 medlemmer, kontingent fra 01.08, hjemmeside skubbet til 2021 (jan </a:t>
            </a:r>
            <a:r>
              <a:rPr lang="da-DK" err="1"/>
              <a:t>feb</a:t>
            </a:r>
            <a:r>
              <a:rPr lang="da-DK"/>
              <a:t> med 35 DKK fra SGR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0271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80576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14169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00501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28873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928412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213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4808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622208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92081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08190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Lene </a:t>
            </a:r>
            <a:r>
              <a:rPr lang="da-DK" err="1"/>
              <a:t>Moellgaard</a:t>
            </a:r>
            <a:r>
              <a:rPr lang="da-DK"/>
              <a:t>? (Lone spørger hen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80468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92770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8860158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9091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9080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6479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3581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4922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55719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9565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2725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823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0043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32034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922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4299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1527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71827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14746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04085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055516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2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1900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244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2759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90311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ACD90-1539-42C8-ABB9-21A5CAACC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643B3F-557F-47C7-A477-B610E97E55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7A1681-9FB9-4C6C-8D6C-E9E09E3F0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33F40-19C1-4C84-8C17-5E030E37F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1BF553-924D-4EA6-82EB-149CD9DC1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3253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C74B-2906-4A3B-955E-0538B149B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18AB15-4200-4745-A6EF-2E502AA6F1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B09737-FAD6-41AC-AA35-3FA07723D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5CDEDF-B25B-4A78-9052-55B9BA2FC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40B9A-B19E-4126-B375-055F0CF45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1770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FAE96-0D6C-4B23-9580-E23C43245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CC037A-ED44-42C1-998E-49E2D4702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0A157B-980A-49CB-91F4-69F99130A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21786-EA32-4D4D-B455-F21A4D7CD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F37C31-6411-406F-8B19-5DABFA450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955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011F0-B4BA-4223-B7BA-BA179E8C7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7C8004-7816-48F3-BB3E-3E9BA3BF05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96B102-3DAE-49BE-A5D3-B737C6068A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936248-000B-46A7-AA1A-ADF792328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29B0A8-5FCF-4D8A-B878-48A5CA452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882711-4D4A-48B5-8D4D-E0E66F024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741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EFB51-DC82-4D85-80D0-46D0B6CB0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7A5B2-5F8F-4AB4-A2DA-16EFBF3C72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DAFECA-2399-4866-B16B-37837BF05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01397B-DEE0-40E3-8969-2AEA09EBE6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8A0A073-86EF-431C-A27E-F493553D9A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D03B8C-90D1-4052-9FD2-DC4F86E24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763860-47ED-4230-B67E-F1BA2C8E9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289AE4-1404-40AE-B8F7-2463F3AEF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6790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C2863-1D7F-4D66-A8C0-C9B987B5E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BA9AF8-4D2E-4A70-93C1-2DCC78865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12BC3E-BC87-48AB-BF6B-A9C4FA4C1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A298FD-C852-4BE6-A015-3D077CACF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7585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622580-334D-455E-8CCA-730097980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CE8227-D4B5-4C05-8665-C8D33A5A3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582159-64A7-4E01-8E79-F537BFC05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1203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612FC-86E3-4762-AF36-30DF195CC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A2E5D9-2822-457E-A6F3-08B2B829A5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FA9E71-EDF5-45BC-90D8-8031BEDA3F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EBE20C-011F-499B-91DF-E3D48596B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40A6BD-8322-4EC1-9C84-4BA7FD61F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498F18-A5FA-4918-B886-E16CD53BC1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1505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8FD93-4ECC-4206-8167-2A8961E0F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705ED3-C2CA-4E9C-8399-85BD10207D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3151FD-6544-4FD0-90BB-14CC722CCC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EFE417-A8AA-415B-A896-548DE9CA5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DC378F-D53F-470E-8FE4-0E902CC67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B95C6A-E965-4D47-97BF-6996B8A71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324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A33F0-1FBA-4815-90D0-226E2664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9A65E1-D6A4-4733-B791-7DEEDF5E2C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36CB18-8EDB-457B-A2C0-05AD198E02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9AE4A-1A66-4093-AAAE-A024BADC6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71683-585B-4EF3-AE54-25DCCB664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1683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A1FDE93-F534-4471-85C9-DEA2C8BC3E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D85F8A-4BF9-4354-AE20-C83B25DD1A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79408-1C13-4F57-B252-0421CF284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D4785-B2C3-4320-8F37-002C37BAD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8EC1DB-448A-45E0-A7C2-DDFE46706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63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9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b="0" dirty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5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338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408" userDrawn="1">
          <p15:clr>
            <a:srgbClr val="F26B43"/>
          </p15:clr>
        </p15:guide>
        <p15:guide id="6" orient="horz" pos="2387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pos="3761" userDrawn="1">
          <p15:clr>
            <a:srgbClr val="F26B43"/>
          </p15:clr>
        </p15:guide>
        <p15:guide id="9" pos="3942" userDrawn="1">
          <p15:clr>
            <a:srgbClr val="F26B43"/>
          </p15:clr>
        </p15:guide>
        <p15:guide id="10" pos="5669" userDrawn="1">
          <p15:clr>
            <a:srgbClr val="F26B43"/>
          </p15:clr>
        </p15:guide>
        <p15:guide id="11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0089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22-02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721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8583FC-BE70-4D91-8E7C-E9CFC7D02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E92C4-B1CD-42D2-A7CC-851B097176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BC1B2C-2CF0-48C0-8743-4193CAB45C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4B7B8-A011-45C4-B38B-6A58D940329C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6DDAC-3F8A-473E-A890-92D62CE8FF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B63859-6B7B-470C-B462-D31B0C40D2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1FEEB0-666C-42A9-91C1-2C2DFA23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162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88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6" Type="http://schemas.openxmlformats.org/officeDocument/2006/relationships/image" Target="../media/image1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tags" Target="../tags/tag130.xml"/><Relationship Id="rId21" Type="http://schemas.openxmlformats.org/officeDocument/2006/relationships/tags" Target="../tags/tag112.xml"/><Relationship Id="rId34" Type="http://schemas.openxmlformats.org/officeDocument/2006/relationships/tags" Target="../tags/tag125.xml"/><Relationship Id="rId42" Type="http://schemas.openxmlformats.org/officeDocument/2006/relationships/tags" Target="../tags/tag133.xml"/><Relationship Id="rId47" Type="http://schemas.openxmlformats.org/officeDocument/2006/relationships/tags" Target="../tags/tag138.xml"/><Relationship Id="rId50" Type="http://schemas.openxmlformats.org/officeDocument/2006/relationships/tags" Target="../tags/tag141.xml"/><Relationship Id="rId55" Type="http://schemas.openxmlformats.org/officeDocument/2006/relationships/chart" Target="../charts/chart1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9" Type="http://schemas.openxmlformats.org/officeDocument/2006/relationships/tags" Target="../tags/tag120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tags" Target="../tags/tag123.xml"/><Relationship Id="rId37" Type="http://schemas.openxmlformats.org/officeDocument/2006/relationships/tags" Target="../tags/tag128.xml"/><Relationship Id="rId40" Type="http://schemas.openxmlformats.org/officeDocument/2006/relationships/tags" Target="../tags/tag131.xml"/><Relationship Id="rId45" Type="http://schemas.openxmlformats.org/officeDocument/2006/relationships/tags" Target="../tags/tag136.xml"/><Relationship Id="rId53" Type="http://schemas.openxmlformats.org/officeDocument/2006/relationships/oleObject" Target="../embeddings/oleObject38.bin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tags" Target="../tags/tag122.xml"/><Relationship Id="rId44" Type="http://schemas.openxmlformats.org/officeDocument/2006/relationships/tags" Target="../tags/tag135.xml"/><Relationship Id="rId52" Type="http://schemas.openxmlformats.org/officeDocument/2006/relationships/notesSlide" Target="../notesSlides/notesSlide10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tags" Target="../tags/tag121.xml"/><Relationship Id="rId35" Type="http://schemas.openxmlformats.org/officeDocument/2006/relationships/tags" Target="../tags/tag126.xml"/><Relationship Id="rId43" Type="http://schemas.openxmlformats.org/officeDocument/2006/relationships/tags" Target="../tags/tag134.xml"/><Relationship Id="rId48" Type="http://schemas.openxmlformats.org/officeDocument/2006/relationships/tags" Target="../tags/tag139.xml"/><Relationship Id="rId56" Type="http://schemas.openxmlformats.org/officeDocument/2006/relationships/chart" Target="../charts/chart2.xml"/><Relationship Id="rId8" Type="http://schemas.openxmlformats.org/officeDocument/2006/relationships/tags" Target="../tags/tag99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94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tags" Target="../tags/tag124.xml"/><Relationship Id="rId38" Type="http://schemas.openxmlformats.org/officeDocument/2006/relationships/tags" Target="../tags/tag129.xml"/><Relationship Id="rId46" Type="http://schemas.openxmlformats.org/officeDocument/2006/relationships/tags" Target="../tags/tag137.xml"/><Relationship Id="rId20" Type="http://schemas.openxmlformats.org/officeDocument/2006/relationships/tags" Target="../tags/tag111.xml"/><Relationship Id="rId41" Type="http://schemas.openxmlformats.org/officeDocument/2006/relationships/tags" Target="../tags/tag132.xml"/><Relationship Id="rId54" Type="http://schemas.openxmlformats.org/officeDocument/2006/relationships/image" Target="../media/image7.emf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tags" Target="../tags/tag127.xml"/><Relationship Id="rId49" Type="http://schemas.openxmlformats.org/officeDocument/2006/relationships/tags" Target="../tags/tag14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chart" Target="../charts/chart3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image" Target="../media/image7.emf"/><Relationship Id="rId2" Type="http://schemas.openxmlformats.org/officeDocument/2006/relationships/tags" Target="../tags/tag143.xml"/><Relationship Id="rId16" Type="http://schemas.openxmlformats.org/officeDocument/2006/relationships/oleObject" Target="../embeddings/oleObject39.bin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40.bin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2.xml"/><Relationship Id="rId6" Type="http://schemas.openxmlformats.org/officeDocument/2006/relationships/image" Target="../media/image1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0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1.xml"/><Relationship Id="rId5" Type="http://schemas.openxmlformats.org/officeDocument/2006/relationships/image" Target="../media/image21.png"/><Relationship Id="rId4" Type="http://schemas.openxmlformats.org/officeDocument/2006/relationships/image" Target="../media/image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5" Type="http://schemas.openxmlformats.org/officeDocument/2006/relationships/image" Target="../media/image12.jpeg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7.xml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72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 vert="horz"/>
          <a:lstStyle/>
          <a:p>
            <a:r>
              <a:rPr lang="da-DK" dirty="0"/>
              <a:t>Generalforsamling</a:t>
            </a:r>
            <a:r>
              <a:rPr lang="da-DK" noProof="0" dirty="0"/>
              <a:t> 2022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 dirty="0"/>
              <a:t>Hotel </a:t>
            </a:r>
            <a:r>
              <a:rPr lang="da-DK" noProof="0" dirty="0" err="1"/>
              <a:t>Eyde</a:t>
            </a:r>
            <a:r>
              <a:rPr lang="da-DK" noProof="0" dirty="0"/>
              <a:t>, Herning, 23-02-202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645" y="685799"/>
            <a:ext cx="8001000" cy="297180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800" b="1" i="1" dirty="0">
                <a:latin typeface="Comic Sans MS"/>
              </a:rPr>
              <a:t>2020</a:t>
            </a:r>
            <a:br>
              <a:rPr lang="en-US" sz="4800" b="1" i="1" dirty="0">
                <a:latin typeface="Comic Sans MS"/>
              </a:rPr>
            </a:br>
            <a:r>
              <a:rPr lang="en-US" sz="4800" b="1" i="1" dirty="0">
                <a:latin typeface="Comic Sans MS"/>
              </a:rPr>
              <a:t>IALT 1.271 DELTAGERE</a:t>
            </a:r>
            <a:br>
              <a:rPr lang="en-US" sz="4800" b="1" i="1" dirty="0">
                <a:latin typeface="Comic Sans MS" panose="030F0702030302020204" pitchFamily="66" charset="0"/>
              </a:rPr>
            </a:br>
            <a:endParaRPr lang="en-US" sz="2000" b="1" i="1">
              <a:latin typeface="Comic Sans MS" panose="030F0702030302020204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6D3795-4130-41B5-A393-34B028EEB716}"/>
              </a:ext>
            </a:extLst>
          </p:cNvPr>
          <p:cNvSpPr txBox="1"/>
          <p:nvPr/>
        </p:nvSpPr>
        <p:spPr>
          <a:xfrm>
            <a:off x="1225421" y="2923401"/>
            <a:ext cx="8979157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atin typeface="Comic Sans MS"/>
              </a:rPr>
              <a:t>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mic Sans MS"/>
                <a:ea typeface="+mn-ea"/>
                <a:cs typeface="+mn-cs"/>
              </a:rPr>
              <a:t>I ALT </a:t>
            </a:r>
            <a:r>
              <a:rPr lang="en-US" sz="4800" dirty="0">
                <a:latin typeface="Comic Sans MS"/>
              </a:rPr>
              <a:t>2.526</a:t>
            </a: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mic Sans MS"/>
                <a:ea typeface="+mn-ea"/>
                <a:cs typeface="+mn-cs"/>
              </a:rPr>
              <a:t> DELTAGERE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omic Sans MS"/>
            </a:endParaRPr>
          </a:p>
          <a:p>
            <a:pPr algn="ctr">
              <a:defRPr/>
            </a:pPr>
            <a:r>
              <a:rPr lang="en-US" sz="3600" dirty="0">
                <a:latin typeface="Comic Sans MS"/>
              </a:rPr>
              <a:t>(1.705 </a:t>
            </a:r>
            <a:r>
              <a:rPr lang="en-US" sz="3600" dirty="0" err="1">
                <a:latin typeface="Comic Sans MS"/>
              </a:rPr>
              <a:t>medlemmer</a:t>
            </a:r>
            <a:r>
              <a:rPr lang="en-US" sz="3600" dirty="0">
                <a:latin typeface="Comic Sans MS"/>
              </a:rPr>
              <a:t> + 821 Partner/</a:t>
            </a:r>
            <a:r>
              <a:rPr lang="en-US" sz="3600" dirty="0" err="1">
                <a:latin typeface="Comic Sans MS"/>
              </a:rPr>
              <a:t>Børn</a:t>
            </a:r>
            <a:r>
              <a:rPr lang="en-US" sz="3600" dirty="0">
                <a:latin typeface="Comic Sans MS"/>
              </a:rPr>
              <a:t>)</a:t>
            </a:r>
            <a:endParaRPr lang="en-US" sz="4800" dirty="0"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69205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74" y="749299"/>
            <a:ext cx="5107214" cy="5811159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br>
              <a:rPr lang="en-US" sz="2000" b="1" i="1" dirty="0">
                <a:latin typeface="Comic Sans MS" panose="030F0702030302020204" pitchFamily="66" charset="0"/>
              </a:rPr>
            </a:br>
            <a:br>
              <a:rPr lang="en-US" sz="2000" b="1" i="1" dirty="0">
                <a:latin typeface="Comic Sans MS"/>
              </a:rPr>
            </a:br>
            <a:r>
              <a:rPr lang="en-US" sz="1400" b="1" i="1" dirty="0" err="1">
                <a:latin typeface="Comic Sans MS"/>
              </a:rPr>
              <a:t>oNLINE</a:t>
            </a:r>
            <a:r>
              <a:rPr lang="en-US" sz="1400" b="1" i="1" dirty="0">
                <a:latin typeface="Comic Sans MS"/>
              </a:rPr>
              <a:t> </a:t>
            </a:r>
            <a:r>
              <a:rPr lang="en-US" sz="2000" b="1" i="1" dirty="0">
                <a:latin typeface="Comic Sans MS"/>
              </a:rPr>
              <a:t>                         9   </a:t>
            </a:r>
            <a:br>
              <a:rPr lang="en-US" sz="2000" b="1" i="1" dirty="0">
                <a:latin typeface="Comic Sans MS"/>
              </a:rPr>
            </a:br>
            <a:r>
              <a:rPr lang="en-US" sz="1100" b="1" i="1" dirty="0">
                <a:latin typeface="Comic Sans MS"/>
              </a:rPr>
              <a:t>(Blomster, gin, yoga, </a:t>
            </a:r>
            <a:r>
              <a:rPr lang="en-US" sz="1100" b="1" i="1" dirty="0" err="1">
                <a:latin typeface="Comic Sans MS"/>
              </a:rPr>
              <a:t>ost</a:t>
            </a:r>
            <a:r>
              <a:rPr lang="en-US" sz="1100" b="1" i="1" dirty="0">
                <a:latin typeface="Comic Sans MS"/>
              </a:rPr>
              <a:t>, bingo, </a:t>
            </a:r>
            <a:r>
              <a:rPr lang="en-US" sz="1100" b="1" i="1" dirty="0" err="1">
                <a:latin typeface="Comic Sans MS"/>
              </a:rPr>
              <a:t>øl</a:t>
            </a:r>
            <a:r>
              <a:rPr lang="en-US" sz="1100" b="1" i="1" dirty="0">
                <a:latin typeface="Comic Sans MS"/>
              </a:rPr>
              <a:t>, </a:t>
            </a:r>
            <a:r>
              <a:rPr lang="en-US" sz="1100" b="1" i="1" dirty="0" err="1">
                <a:latin typeface="Comic Sans MS"/>
              </a:rPr>
              <a:t>coctails</a:t>
            </a:r>
            <a:r>
              <a:rPr lang="en-US" sz="1100" b="1" i="1" dirty="0">
                <a:latin typeface="Comic Sans MS"/>
              </a:rPr>
              <a:t>) </a:t>
            </a:r>
            <a:r>
              <a:rPr lang="en-US" sz="2000" b="1" i="1" dirty="0">
                <a:latin typeface="Comic Sans MS"/>
              </a:rPr>
              <a:t> </a:t>
            </a:r>
            <a:br>
              <a:rPr lang="en-US" sz="2000" b="1" i="1" dirty="0">
                <a:latin typeface="Comic Sans MS"/>
              </a:rPr>
            </a:br>
            <a:r>
              <a:rPr lang="en-US" sz="1400" b="1" i="1" dirty="0">
                <a:latin typeface="Comic Sans MS"/>
              </a:rPr>
              <a:t>AFLYST </a:t>
            </a:r>
            <a:r>
              <a:rPr lang="en-US" sz="2000" b="1" i="1" dirty="0">
                <a:latin typeface="Comic Sans MS"/>
              </a:rPr>
              <a:t>                         8</a:t>
            </a:r>
            <a:br>
              <a:rPr lang="en-US" sz="2000" b="1" i="1" dirty="0">
                <a:latin typeface="Comic Sans MS"/>
              </a:rPr>
            </a:br>
            <a:r>
              <a:rPr lang="en-US" sz="1100" b="1" i="1" dirty="0">
                <a:latin typeface="Comic Sans MS"/>
              </a:rPr>
              <a:t>(ski, comedy, golf, </a:t>
            </a:r>
            <a:r>
              <a:rPr lang="en-US" sz="1100" b="1" i="1" dirty="0" err="1">
                <a:latin typeface="Comic Sans MS"/>
              </a:rPr>
              <a:t>koncert</a:t>
            </a:r>
            <a:r>
              <a:rPr lang="en-US" sz="1100" b="1" i="1" dirty="0">
                <a:latin typeface="Comic Sans MS"/>
              </a:rPr>
              <a:t>, tennis, mode, </a:t>
            </a:r>
            <a:r>
              <a:rPr lang="en-US" sz="1100" b="1" i="1" dirty="0" err="1">
                <a:latin typeface="Comic Sans MS"/>
              </a:rPr>
              <a:t>beton</a:t>
            </a:r>
            <a:r>
              <a:rPr lang="en-US" sz="1100" b="1" i="1" dirty="0">
                <a:latin typeface="Comic Sans MS"/>
              </a:rPr>
              <a:t>)</a:t>
            </a:r>
            <a:br>
              <a:rPr lang="en-US" sz="1100" b="1" i="1" dirty="0">
                <a:latin typeface="Comic Sans MS" panose="030F0702030302020204" pitchFamily="66" charset="0"/>
              </a:rPr>
            </a:br>
            <a:r>
              <a:rPr lang="en-US" sz="1400" b="1" i="1" dirty="0">
                <a:latin typeface="Comic Sans MS"/>
              </a:rPr>
              <a:t>Teater                          2</a:t>
            </a:r>
            <a:br>
              <a:rPr lang="en-US" sz="1400" b="1" i="1" dirty="0">
                <a:latin typeface="Comic Sans MS"/>
              </a:rPr>
            </a:br>
            <a:r>
              <a:rPr lang="en-US" sz="1400" b="1" i="1" dirty="0" err="1">
                <a:latin typeface="Comic Sans MS"/>
              </a:rPr>
              <a:t>Coctail</a:t>
            </a:r>
            <a:r>
              <a:rPr lang="en-US" sz="1400" b="1" i="1" dirty="0">
                <a:latin typeface="Comic Sans MS"/>
              </a:rPr>
              <a:t>/vin </a:t>
            </a:r>
            <a:r>
              <a:rPr lang="en-US" sz="1400" b="1" i="1" dirty="0" err="1">
                <a:latin typeface="Comic Sans MS"/>
              </a:rPr>
              <a:t>smagning</a:t>
            </a:r>
            <a:r>
              <a:rPr lang="en-US" sz="1400" b="1" i="1" dirty="0">
                <a:latin typeface="Comic Sans MS"/>
              </a:rPr>
              <a:t>     3</a:t>
            </a:r>
            <a:br>
              <a:rPr lang="en-US" sz="1400" b="1" i="1" dirty="0">
                <a:latin typeface="Comic Sans MS" panose="030F0702030302020204" pitchFamily="66" charset="0"/>
              </a:rPr>
            </a:br>
            <a:r>
              <a:rPr lang="en-US" sz="1400" b="1" i="1" dirty="0" err="1">
                <a:latin typeface="Comic Sans MS"/>
              </a:rPr>
              <a:t>koncert</a:t>
            </a:r>
            <a:r>
              <a:rPr lang="en-US" sz="1400" b="1" i="1" dirty="0">
                <a:latin typeface="Comic Sans MS"/>
              </a:rPr>
              <a:t>                        3</a:t>
            </a:r>
            <a:br>
              <a:rPr lang="en-US" sz="1400" b="1" i="1" dirty="0">
                <a:latin typeface="Comic Sans MS" panose="030F0702030302020204" pitchFamily="66" charset="0"/>
              </a:rPr>
            </a:br>
            <a:r>
              <a:rPr lang="en-US" sz="1400" b="1" i="1" dirty="0">
                <a:latin typeface="Comic Sans MS"/>
              </a:rPr>
              <a:t>Golf                            4</a:t>
            </a:r>
            <a:br>
              <a:rPr lang="en-US" sz="1400" b="1" i="1" dirty="0">
                <a:latin typeface="Comic Sans MS"/>
              </a:rPr>
            </a:br>
            <a:r>
              <a:rPr lang="en-US" sz="1400" b="1" i="1" dirty="0">
                <a:latin typeface="Comic Sans MS"/>
              </a:rPr>
              <a:t>motion  </a:t>
            </a:r>
            <a:r>
              <a:rPr lang="en-US" sz="2000" b="1" i="1" dirty="0">
                <a:latin typeface="Comic Sans MS"/>
              </a:rPr>
              <a:t>                      9</a:t>
            </a:r>
            <a:br>
              <a:rPr lang="en-US" sz="2000" b="1" i="1" dirty="0">
                <a:latin typeface="Comic Sans MS"/>
              </a:rPr>
            </a:br>
            <a:r>
              <a:rPr lang="en-US" sz="1100" b="1" i="1" dirty="0">
                <a:latin typeface="Comic Sans MS"/>
              </a:rPr>
              <a:t>(yoga, </a:t>
            </a:r>
            <a:r>
              <a:rPr lang="en-US" sz="1100" b="1" i="1" dirty="0" err="1">
                <a:latin typeface="Comic Sans MS"/>
              </a:rPr>
              <a:t>fodbold</a:t>
            </a:r>
            <a:r>
              <a:rPr lang="en-US" sz="1100" b="1" i="1" dirty="0">
                <a:latin typeface="Comic Sans MS"/>
              </a:rPr>
              <a:t>, </a:t>
            </a:r>
            <a:r>
              <a:rPr lang="en-US" sz="1100" b="1" i="1" dirty="0" err="1">
                <a:latin typeface="Comic Sans MS"/>
              </a:rPr>
              <a:t>mtb</a:t>
            </a:r>
            <a:r>
              <a:rPr lang="en-US" sz="1100" b="1" i="1" dirty="0">
                <a:latin typeface="Comic Sans MS"/>
              </a:rPr>
              <a:t>, </a:t>
            </a:r>
            <a:r>
              <a:rPr lang="en-US" sz="1100" b="1" i="1" dirty="0" err="1">
                <a:latin typeface="Comic Sans MS"/>
              </a:rPr>
              <a:t>padel</a:t>
            </a:r>
            <a:r>
              <a:rPr lang="en-US" sz="1100" b="1" i="1" dirty="0">
                <a:latin typeface="Comic Sans MS"/>
              </a:rPr>
              <a:t> tennis, aqua </a:t>
            </a:r>
            <a:r>
              <a:rPr lang="en-US" sz="1100" b="1" i="1" dirty="0" err="1">
                <a:latin typeface="Comic Sans MS"/>
              </a:rPr>
              <a:t>o.s.v.</a:t>
            </a:r>
            <a:r>
              <a:rPr lang="en-US" sz="1100" b="1" i="1" dirty="0">
                <a:latin typeface="Comic Sans MS"/>
              </a:rPr>
              <a:t>)</a:t>
            </a:r>
            <a:br>
              <a:rPr lang="en-US" dirty="0"/>
            </a:br>
            <a:r>
              <a:rPr lang="en-US" sz="1600" b="1" i="1" dirty="0" err="1">
                <a:latin typeface="Comic Sans MS"/>
              </a:rPr>
              <a:t>spise</a:t>
            </a:r>
            <a:r>
              <a:rPr lang="en-US" sz="1600" b="1" i="1" dirty="0">
                <a:latin typeface="Comic Sans MS"/>
              </a:rPr>
              <a:t>                           5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>
                <a:latin typeface="Comic Sans MS"/>
              </a:rPr>
              <a:t>mode                           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biler</a:t>
            </a:r>
            <a:r>
              <a:rPr lang="en-US" sz="1600" b="1" i="1" dirty="0">
                <a:latin typeface="Comic Sans MS"/>
              </a:rPr>
              <a:t>                           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>
                <a:latin typeface="Comic Sans MS"/>
              </a:rPr>
              <a:t>bio                             3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weekendtur</a:t>
            </a:r>
            <a:r>
              <a:rPr lang="en-US" sz="1600" b="1" i="1" dirty="0">
                <a:latin typeface="Comic Sans MS"/>
              </a:rPr>
              <a:t>                  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>
                <a:latin typeface="Comic Sans MS"/>
              </a:rPr>
              <a:t>escape room                 2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djurs</a:t>
            </a:r>
            <a:r>
              <a:rPr lang="en-US" sz="1600" b="1" i="1" dirty="0">
                <a:latin typeface="Comic Sans MS"/>
              </a:rPr>
              <a:t> </a:t>
            </a:r>
            <a:r>
              <a:rPr lang="en-US" sz="1600" b="1" i="1" dirty="0" err="1">
                <a:latin typeface="Comic Sans MS"/>
              </a:rPr>
              <a:t>sommerland</a:t>
            </a:r>
            <a:r>
              <a:rPr lang="en-US" sz="1600" b="1" i="1" dirty="0">
                <a:latin typeface="Comic Sans MS"/>
              </a:rPr>
              <a:t>         1</a:t>
            </a:r>
            <a:br>
              <a:rPr lang="en-US" sz="1600" dirty="0"/>
            </a:br>
            <a:r>
              <a:rPr lang="en-US" sz="1600" b="1" i="1" dirty="0" err="1">
                <a:latin typeface="Comic Sans MS"/>
              </a:rPr>
              <a:t>keramikmaling</a:t>
            </a:r>
            <a:r>
              <a:rPr lang="en-US" sz="1600" b="1" i="1" dirty="0">
                <a:latin typeface="Comic Sans MS"/>
              </a:rPr>
              <a:t>              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bryg</a:t>
            </a:r>
            <a:r>
              <a:rPr lang="en-US" sz="1600" b="1" i="1" dirty="0">
                <a:latin typeface="Comic Sans MS"/>
              </a:rPr>
              <a:t> </a:t>
            </a:r>
            <a:r>
              <a:rPr lang="en-US" sz="1600" b="1" i="1" dirty="0" err="1">
                <a:latin typeface="Comic Sans MS"/>
              </a:rPr>
              <a:t>selv</a:t>
            </a:r>
            <a:r>
              <a:rPr lang="en-US" sz="1600" b="1" i="1" dirty="0">
                <a:latin typeface="Comic Sans MS"/>
              </a:rPr>
              <a:t> </a:t>
            </a:r>
            <a:r>
              <a:rPr lang="en-US" sz="1600" b="1" i="1" dirty="0" err="1">
                <a:latin typeface="Comic Sans MS"/>
              </a:rPr>
              <a:t>øl</a:t>
            </a:r>
            <a:r>
              <a:rPr lang="en-US" sz="1600" b="1" i="1" dirty="0">
                <a:latin typeface="Comic Sans MS"/>
              </a:rPr>
              <a:t>                 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chokolade</a:t>
            </a:r>
            <a:r>
              <a:rPr lang="en-US" sz="1600" b="1" i="1" dirty="0">
                <a:latin typeface="Comic Sans MS"/>
              </a:rPr>
              <a:t>                   2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tivoli</a:t>
            </a:r>
            <a:r>
              <a:rPr lang="en-US" sz="1600" b="1" i="1" dirty="0">
                <a:latin typeface="Comic Sans MS"/>
              </a:rPr>
              <a:t> m. show             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 err="1">
                <a:latin typeface="Comic Sans MS"/>
              </a:rPr>
              <a:t>jagt</a:t>
            </a:r>
            <a:r>
              <a:rPr lang="en-US" sz="1600" b="1" i="1" dirty="0">
                <a:latin typeface="Comic Sans MS"/>
              </a:rPr>
              <a:t>                           1</a:t>
            </a:r>
            <a:br>
              <a:rPr lang="en-US" sz="1600" b="1" i="1" dirty="0">
                <a:latin typeface="Comic Sans MS"/>
              </a:rPr>
            </a:br>
            <a:r>
              <a:rPr lang="en-US" sz="1600" b="1" i="1" dirty="0">
                <a:latin typeface="Comic Sans MS"/>
              </a:rPr>
              <a:t>gl. By </a:t>
            </a:r>
            <a:r>
              <a:rPr lang="en-US" sz="1600" b="1" i="1" dirty="0" err="1">
                <a:latin typeface="Comic Sans MS"/>
              </a:rPr>
              <a:t>århus</a:t>
            </a:r>
            <a:r>
              <a:rPr lang="en-US" sz="1600" b="1" i="1" dirty="0">
                <a:latin typeface="Comic Sans MS"/>
              </a:rPr>
              <a:t>                 1</a:t>
            </a:r>
            <a:br>
              <a:rPr lang="en-US" sz="2000" b="1" i="1" dirty="0">
                <a:latin typeface="Comic Sans MS"/>
              </a:rPr>
            </a:br>
            <a:br>
              <a:rPr lang="en-US" sz="2000" b="1" i="1" dirty="0">
                <a:latin typeface="Comic Sans MS"/>
              </a:rPr>
            </a:br>
            <a:br>
              <a:rPr lang="en-US" sz="2000" b="1" i="1" dirty="0">
                <a:latin typeface="Comic Sans MS"/>
              </a:rPr>
            </a:br>
            <a:r>
              <a:rPr lang="en-US" sz="2000" b="1" i="1" dirty="0">
                <a:latin typeface="Comic Sans MS"/>
              </a:rPr>
              <a:t> </a:t>
            </a:r>
            <a:br>
              <a:rPr lang="en-US" sz="4800" b="1" i="1" dirty="0">
                <a:latin typeface="Comic Sans MS" panose="030F0702030302020204" pitchFamily="66" charset="0"/>
              </a:rPr>
            </a:br>
            <a:endParaRPr lang="en-US" sz="2000" b="1" i="1">
              <a:latin typeface="Comic Sans MS" panose="030F0702030302020204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6D3795-4130-41B5-A393-34B028EEB716}"/>
              </a:ext>
            </a:extLst>
          </p:cNvPr>
          <p:cNvSpPr txBox="1"/>
          <p:nvPr/>
        </p:nvSpPr>
        <p:spPr>
          <a:xfrm>
            <a:off x="6042349" y="1476853"/>
            <a:ext cx="5813228" cy="50167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i="1" dirty="0">
                <a:latin typeface="Comic Sans MS"/>
              </a:rPr>
              <a:t>HERNING                                               18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BRANDE                                                 10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VEJLE                                                     5                ÅRHUS                                                   4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SILKEBORG                                           2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JUELSMINDE                                       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HORSENS                                             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HØJER                                                  1                   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KØBENHAVN                                        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BØRKOP                                                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TJELE                                                   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ODENSE                                               1  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NIMTOFTE                                          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RØMØ                                                  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KERTEMINDE                                     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VAMDRUP                                            1</a:t>
            </a:r>
          </a:p>
          <a:p>
            <a:pPr>
              <a:defRPr/>
            </a:pPr>
            <a:r>
              <a:rPr lang="en-US" i="1" dirty="0">
                <a:latin typeface="Comic Sans MS"/>
              </a:rPr>
              <a:t>BOGENSE                                            1  </a:t>
            </a:r>
          </a:p>
          <a:p>
            <a:pPr>
              <a:defRPr/>
            </a:pPr>
            <a:endParaRPr lang="en-US" sz="1400" i="1" dirty="0">
              <a:latin typeface="Comic Sans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2343C-9C62-4AA8-B902-AF5FAB3535C4}"/>
              </a:ext>
            </a:extLst>
          </p:cNvPr>
          <p:cNvSpPr txBox="1"/>
          <p:nvPr/>
        </p:nvSpPr>
        <p:spPr>
          <a:xfrm>
            <a:off x="358775" y="144939"/>
            <a:ext cx="3722914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i="1" dirty="0">
                <a:latin typeface="Comic Sans MS"/>
              </a:rPr>
              <a:t>EVENT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A36868-9D2A-4955-94AD-09DBFA073DCB}"/>
              </a:ext>
            </a:extLst>
          </p:cNvPr>
          <p:cNvSpPr txBox="1"/>
          <p:nvPr/>
        </p:nvSpPr>
        <p:spPr>
          <a:xfrm>
            <a:off x="6094185" y="142014"/>
            <a:ext cx="5872842" cy="11387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2000" i="1" dirty="0">
              <a:latin typeface="Comic Sans MS"/>
            </a:endParaRPr>
          </a:p>
          <a:p>
            <a:pPr algn="ctr"/>
            <a:r>
              <a:rPr lang="en-US" sz="2800" i="1" dirty="0">
                <a:latin typeface="Comic Sans MS"/>
              </a:rPr>
              <a:t>BYER</a:t>
            </a:r>
            <a:endParaRPr lang="en-US" sz="2800" dirty="0"/>
          </a:p>
          <a:p>
            <a:pPr algn="ctr"/>
            <a:endParaRPr lang="en-US" sz="2000" i="1" dirty="0"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1211001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8B1A92-B522-4847-B140-023511DF4E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8B1A92-B522-4847-B140-023511DF4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5C196-241B-4EAD-AC23-21A7D67134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4212" y="4774580"/>
            <a:ext cx="8535988" cy="1470722"/>
          </a:xfrm>
        </p:spPr>
        <p:txBody>
          <a:bodyPr>
            <a:normAutofit/>
          </a:bodyPr>
          <a:lstStyle/>
          <a:p>
            <a:r>
              <a:rPr lang="da-DK" b="1" i="1" dirty="0">
                <a:solidFill>
                  <a:schemeClr val="tx1"/>
                </a:solidFill>
                <a:latin typeface="Comic Sans MS"/>
              </a:rPr>
              <a:t>EN FANTASTISK, FESTLIG, FORRYGENDE AFTEN MED "FANGERNE PÅ FORTET", LÆKKER MAD OG FRI BAR...</a:t>
            </a:r>
            <a:endParaRPr lang="en-US" dirty="0">
              <a:solidFill>
                <a:schemeClr val="tx1"/>
              </a:solidFill>
            </a:endParaRPr>
          </a:p>
          <a:p>
            <a:endParaRPr lang="da-DK" b="1" i="1">
              <a:solidFill>
                <a:schemeClr val="tx1"/>
              </a:solidFill>
              <a:latin typeface="Comic Sans M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23552A-D562-47F1-AF5B-5812FC285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9557" y="684798"/>
            <a:ext cx="6263210" cy="1750671"/>
          </a:xfrm>
        </p:spPr>
        <p:txBody>
          <a:bodyPr vert="horz"/>
          <a:lstStyle/>
          <a:p>
            <a:pPr algn="ctr"/>
            <a:r>
              <a:rPr lang="da-DK" b="1" i="1" dirty="0" err="1">
                <a:latin typeface="Comic Sans MS"/>
              </a:rPr>
              <a:t>EVENTMAKERaften</a:t>
            </a:r>
            <a:r>
              <a:rPr lang="da-DK" b="1" i="1" dirty="0">
                <a:latin typeface="Comic Sans MS"/>
              </a:rPr>
              <a:t> </a:t>
            </a:r>
            <a:endParaRPr lang="da-DK" b="1" i="1" dirty="0">
              <a:latin typeface="Comic Sans MS" panose="030F0702030302020204" pitchFamily="66" charset="0"/>
            </a:endParaRPr>
          </a:p>
        </p:txBody>
      </p:sp>
      <p:pic>
        <p:nvPicPr>
          <p:cNvPr id="7" name="Picture 7" descr="A picture containing indoor, person&#10;&#10;Description automatically generated">
            <a:extLst>
              <a:ext uri="{FF2B5EF4-FFF2-40B4-BE49-F238E27FC236}">
                <a16:creationId xmlns:a16="http://schemas.microsoft.com/office/drawing/2014/main" id="{3C0C5D5B-30B8-4FE0-A3AE-5E776BAA28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59474" y="829837"/>
            <a:ext cx="3988418" cy="30052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19D6DD-F778-4EF2-BA7B-7BDC8117A591}"/>
              </a:ext>
            </a:extLst>
          </p:cNvPr>
          <p:cNvSpPr txBox="1"/>
          <p:nvPr/>
        </p:nvSpPr>
        <p:spPr>
          <a:xfrm>
            <a:off x="4724400" y="3200399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/>
              <a:t>Click to add text</a:t>
            </a:r>
          </a:p>
        </p:txBody>
      </p:sp>
      <p:pic>
        <p:nvPicPr>
          <p:cNvPr id="9" name="Picture 9" descr="A picture containing indoor, cluttered&#10;&#10;Description automatically generated">
            <a:extLst>
              <a:ext uri="{FF2B5EF4-FFF2-40B4-BE49-F238E27FC236}">
                <a16:creationId xmlns:a16="http://schemas.microsoft.com/office/drawing/2014/main" id="{474941F5-EF9E-49BC-AB71-ECAF97ED8B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3376961" y="801958"/>
            <a:ext cx="3997713" cy="299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0569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3">
            <a:extLst>
              <a:ext uri="{FF2B5EF4-FFF2-40B4-BE49-F238E27FC236}">
                <a16:creationId xmlns:a16="http://schemas.microsoft.com/office/drawing/2014/main" id="{6CC7770B-E4E1-42D6-9437-DAA4A3A9E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A26DE5B-A1A6-4746-8EF7-4D6809ED75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7A3DDA-BF17-4302-867E-EBFD777B0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BE30704-4227-4B7B-BDB8-BFCF39086F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23B1E7-AEA4-42D8-8F4A-9D116F29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21B6244-6EAE-442C-ACCF-8146103EC1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22" name="Rectangle 30">
            <a:extLst>
              <a:ext uri="{FF2B5EF4-FFF2-40B4-BE49-F238E27FC236}">
                <a16:creationId xmlns:a16="http://schemas.microsoft.com/office/drawing/2014/main" id="{781BBDC9-2DC6-4959-AC3D-49A5DCB05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B4378-C95C-45D7-942D-D6F00751661C}"/>
              </a:ext>
            </a:extLst>
          </p:cNvPr>
          <p:cNvSpPr txBox="1"/>
          <p:nvPr/>
        </p:nvSpPr>
        <p:spPr>
          <a:xfrm>
            <a:off x="684212" y="685800"/>
            <a:ext cx="4754563" cy="57447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10000"/>
          </a:bodyPr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FÅ EN GOD IDE TIL ET EVENT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KONTAKT LEVERANDØR OG LAV EN AFTALE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KONTAKT EVT. MØLLEBANDEN FOR GODE RÅD, TIPS OG TRICKS...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LAV EN ANSØGNING PÅ HJEMMESIDEN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NÅR EVENT ER GODKENDT, LAVER DU EN FLOT BESKRIVELSE AF EVENT MED BILLEDER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VED DEADLINE FOR TILMELDING : KONTAKT LEVERANDØR MED ENDELIGT ANTAL.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TRÆK EN DELTAGERLISTE OG PAK BILLETTER TIL UDLEVERING.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SEND INFO-MAIL TIL ALLE DELTAGERE 2-7 DAGE FØR EVENT.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/>
              <a:t>MØD OP – DEL UD – OG NYD DIT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/>
              <a:t>SEND REGNINGEN TIL MØLLEBANDEN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 dirty="0">
                <a:latin typeface="Century Gothic" panose="020B0502020202020204"/>
              </a:rPr>
              <a:t>KONTAKT EVT. MØLLEBANDENS VENNER HVIS BRUG FOR HJÆLP TIL STØRRE EVENTS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Rectangle 32">
            <a:extLst>
              <a:ext uri="{FF2B5EF4-FFF2-40B4-BE49-F238E27FC236}">
                <a16:creationId xmlns:a16="http://schemas.microsoft.com/office/drawing/2014/main" id="{08452CCF-4A27-488A-AAF4-424933CFC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5999" y="0"/>
            <a:ext cx="4657345" cy="685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5177-43FE-4983-8553-D9E96F2A891D}"/>
              </a:ext>
            </a:extLst>
          </p:cNvPr>
          <p:cNvSpPr txBox="1"/>
          <p:nvPr/>
        </p:nvSpPr>
        <p:spPr>
          <a:xfrm>
            <a:off x="6662057" y="685800"/>
            <a:ext cx="3592286" cy="530859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00" b="1" i="1" cap="all" dirty="0">
                <a:ln w="3175" cmpd="sng">
                  <a:noFill/>
                </a:ln>
                <a:latin typeface="Century Gothic" panose="020B0502020202020204"/>
              </a:rPr>
              <a:t>GÅR DU MED EN LILLE EVENTMAKER I MAVEN....?</a:t>
            </a:r>
            <a:endParaRPr lang="en-US" dirty="0"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B74BB55-8517-4CFE-9389-81D0E6F81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53344" y="0"/>
            <a:ext cx="1438656" cy="6858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A50E82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3190CD-45FC-4DE0-B596-17D4DE53E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69288" y="3770390"/>
            <a:ext cx="1419541" cy="1660354"/>
            <a:chOff x="10292292" y="2963333"/>
            <a:chExt cx="1896535" cy="22182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D4334C-2554-4361-8CFF-394E624CF4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FC3CBA7-AF68-4075-BAC7-623C34B4F4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190344"/>
              <a:ext cx="1896535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A6C7307-1C78-4C8A-BF3D-FA420F177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4CD1F94-6C7C-4E8F-9336-E312E9F5C7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B11C2A-D791-46E1-B954-1184FB080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74883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b="1" dirty="0"/>
              <a:t>Ny hjemmeside – </a:t>
            </a:r>
            <a:r>
              <a:rPr lang="da-DK" sz="1600" b="1" i="1" dirty="0"/>
              <a:t>Tabea Schadwinkel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35217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671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easer på ny Møllebanden hjemmes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5</a:t>
            </a:fld>
            <a:endParaRPr lang="da-DK"/>
          </a:p>
        </p:txBody>
      </p:sp>
      <p:pic>
        <p:nvPicPr>
          <p:cNvPr id="3" name="Picture 5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08C668FB-99A0-43E6-9D49-300FA4436B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538162" y="1161484"/>
            <a:ext cx="9936375" cy="4328657"/>
          </a:xfrm>
        </p:spPr>
      </p:pic>
    </p:spTree>
    <p:extLst>
      <p:ext uri="{BB962C8B-B14F-4D97-AF65-F5344CB8AC3E}">
        <p14:creationId xmlns:p14="http://schemas.microsoft.com/office/powerpoint/2010/main" val="30471060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Regnskab &amp; Budget - </a:t>
            </a:r>
            <a:r>
              <a:rPr lang="da-DK" sz="1600" b="1" i="1" dirty="0"/>
              <a:t>Tabea Schadwinkel &amp; Taus Wind-Larsen</a:t>
            </a:r>
            <a:endParaRPr lang="da-DK" sz="1600" b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882169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2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216" imgH="216" progId="TCLayout.ActiveDocument.1">
                  <p:embed/>
                </p:oleObj>
              </mc:Choice>
              <mc:Fallback>
                <p:oleObj name="think-cell Slide" r:id="rId53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297" y="1142213"/>
            <a:ext cx="4997897" cy="418301"/>
          </a:xfrm>
        </p:spPr>
        <p:txBody>
          <a:bodyPr/>
          <a:lstStyle/>
          <a:p>
            <a:r>
              <a:rPr lang="da-DK" dirty="0"/>
              <a:t>Budget 2021 vs. Faktiske 2021 / </a:t>
            </a:r>
            <a:r>
              <a:rPr lang="da-DK" dirty="0" err="1"/>
              <a:t>kDKK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7</a:t>
            </a:fld>
            <a:endParaRPr lang="da-DK"/>
          </a:p>
        </p:txBody>
      </p:sp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3C6E91AF-B3CE-4A34-B886-31B2A6A12E9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58713887"/>
              </p:ext>
            </p:extLst>
          </p:nvPr>
        </p:nvGraphicFramePr>
        <p:xfrm>
          <a:off x="1749425" y="1663700"/>
          <a:ext cx="6646863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18554E66-610B-4EAC-BAC0-72582685382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964363" y="1951038"/>
            <a:ext cx="0" cy="227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9F075E6E-6E8D-4B51-AAAA-86999184EDF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664325" y="1951038"/>
            <a:ext cx="300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7991103A-DD98-4403-B489-01103FE1388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6440488" y="2178050"/>
            <a:ext cx="5238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B25351B5-8410-40B6-B414-5961AE306F1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351838" y="2587625"/>
            <a:ext cx="3698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B5BF759-88E6-494E-9C37-4A5BEB71FC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721725" y="2587625"/>
            <a:ext cx="0" cy="2286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C7C0889-1527-4617-AFEC-E1B7B3BDA35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7677150" y="2816225"/>
            <a:ext cx="1044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D0E781-6390-4B97-8D9C-FE343E77AB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12825" y="2595563"/>
            <a:ext cx="620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28AE0B-EAEC-4B18-8915-68FB5F34C1A8}" type="datetime'''''''''''''''''''''''''''''''''''U''''dg''''if''''t''''e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Udgifter</a:t>
            </a:fld>
            <a:endParaRPr lang="en-US" sz="1400" dirty="0"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BBAD4-56C8-4FCA-8C7D-82703B0EE0D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74713" y="1957388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F8875A-C79E-4A13-955E-EDE30832BB67}" type="datetime'''''''''I''n''''''d''t''''''''''''æ''gt''''''''''''''''''e''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Indtægter</a:t>
            </a:fld>
            <a:endParaRPr lang="en-US" sz="140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12BC62-A0B1-49CB-90F6-A40A22FA506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82663" y="3232150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F3E5C-BE44-4D66-A3DD-432BFE298BE6}" type="datetime'''''''''''''''Re''''''''''''s''''''u''''''''''lt''''a''t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Resultat</a:t>
            </a:fld>
            <a:endParaRPr lang="en-US" sz="1400">
              <a:sym typeface="+mn-lt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57F94C1C-B279-482E-81AE-EFDD3558C11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0525" y="1912938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AC49C6-AC79-4923-AF8A-F522CD920118}" type="datetime'-''8%'''''''''''''''''''''''''''''''''''''''''">
              <a:rPr lang="en-US" altLang="en-US" sz="1400" b="1" smtClean="0">
                <a:effectLst/>
              </a:rPr>
              <a:pPr/>
              <a:t>-8%</a:t>
            </a:fld>
            <a:endParaRPr lang="en-US" sz="1400" b="1" dirty="0"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6FB31CF-AD53-433E-B0C9-F3438737437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28038" y="2551113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E42D50-3076-488C-8D37-66884E5659A0}" type="datetime'''''''-''''''''''''''''1''''''''''''5''''''''%'''''''''''''''">
              <a:rPr lang="en-US" altLang="en-US" sz="1400" b="1" smtClean="0">
                <a:effectLst/>
              </a:rPr>
              <a:pPr/>
              <a:t>-15%</a:t>
            </a:fld>
            <a:endParaRPr lang="en-US" sz="1400" b="1" dirty="0"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4CA74-0128-4EAA-852F-032BEBB475C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683125" y="11811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5816CD-EA28-4CC9-85AE-CDDF685501C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091238" y="11811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3F8FE-1ECB-4292-8C42-EE6EB0F911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84750" y="1176338"/>
            <a:ext cx="1004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Budget 2021</a:t>
            </a:r>
            <a:endParaRPr lang="en-US" sz="1400" dirty="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570FEC-9B18-4156-AC8E-5A2BCB7D44B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92863" y="1176338"/>
            <a:ext cx="1438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ym typeface="+mn-lt"/>
              </a:rPr>
              <a:t>Årsregnskab</a:t>
            </a:r>
            <a:r>
              <a:rPr lang="en-US" sz="1400" dirty="0">
                <a:sym typeface="+mn-lt"/>
              </a:rPr>
              <a:t> 2021</a:t>
            </a:r>
          </a:p>
        </p:txBody>
      </p:sp>
      <p:graphicFrame>
        <p:nvGraphicFramePr>
          <p:cNvPr id="178" name="Chart 177">
            <a:extLst>
              <a:ext uri="{FF2B5EF4-FFF2-40B4-BE49-F238E27FC236}">
                <a16:creationId xmlns:a16="http://schemas.microsoft.com/office/drawing/2014/main" id="{893AA19C-F33C-4DDC-A8B7-626AC44F77FD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58728972"/>
              </p:ext>
            </p:extLst>
          </p:nvPr>
        </p:nvGraphicFramePr>
        <p:xfrm>
          <a:off x="1627188" y="4530725"/>
          <a:ext cx="8516937" cy="1382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AACAA03-17E9-4333-B082-25BD892BF55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2306638" y="4864100"/>
            <a:ext cx="11541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0088F8-1355-483F-81FB-86363711534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2306638" y="4864100"/>
            <a:ext cx="0" cy="465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3A409E1-EDDF-45CB-A701-858D39DE881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460750" y="48641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B4B73418-303A-4AE9-B9CE-FBC3397F41D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654550" y="46180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3DA4C67-AD05-421F-B06F-8E62E478BC3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536950" y="4618038"/>
            <a:ext cx="1117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4EEDD36-FC12-48A2-AC02-8761721A25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3536950" y="4618038"/>
            <a:ext cx="0" cy="398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596748-7381-4E43-AF2E-DBE5B3C7A6B1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V="1">
            <a:off x="4730750" y="4362450"/>
            <a:ext cx="0" cy="40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6BEE14-6D32-4AF7-9A10-F57017B7CD1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730750" y="4362450"/>
            <a:ext cx="1116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FA06BA3-C521-419C-99C9-FD10F87FB5B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846763" y="43624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2FAB806-EB20-436C-87B5-28D8EF7EB17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5922963" y="44386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0E6E158-6032-4451-97DA-CF98B60F71A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922963" y="4438650"/>
            <a:ext cx="1117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0F96AC7-3607-4781-81A8-8779530E598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7040563" y="4438650"/>
            <a:ext cx="0" cy="369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A16D71B-8758-468F-8CB3-80AB806CDF0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116763" y="4467225"/>
            <a:ext cx="1116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4CF4D50-E1F3-4C2B-9F54-F7BA2BA676C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7116763" y="4467225"/>
            <a:ext cx="0" cy="341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D3F2CFE-F938-47E6-BA20-1D1729AA42A5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232775" y="44672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90D833C-7ADA-47A3-B56E-4239395CEC8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9464675" y="4543425"/>
            <a:ext cx="0" cy="315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541F855-06A9-4E08-9DEF-743786F8BF1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8308975" y="45434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6FCC693-3754-4DD1-9533-566A3D12832F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8308975" y="4543425"/>
            <a:ext cx="11557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B13EB1-D281-4AF1-8648-E1ACD6E531F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681663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0F3DD9-7A1A-4FF3-9124-988E5DFBA497}" type="datetime'''''''''''''''''2''0''''1''''''8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7921388-F291-4C27-B766-406BC5C6EBE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67675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0A82E-D8E5-4668-9B21-CF5DF5B973AC}" type="datetime'''''2''''''''''''''''''''''''''0''''''''''''''''''20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EF31358-F416-4A32-BDE8-98C80AE1C73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103438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CB0A56-F927-499B-86A0-6584E405A022}" type="datetime'2''''''''''''''''''''''''''0''1''5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38F6196-5CCB-4E07-AA43-C8C585FBCBB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489450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3ADA68-17BE-40BD-9B01-771E0FB00164}" type="datetime'''''''''''''''''''''''''''''''''''''''''2''''''0''1''7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B274231-245E-4D9D-8773-1D303A34E3E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295650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A07D8-996B-4F90-8FBA-8D66B60042FE}" type="datetime'''''''''''''2''''''0''''''''''''''''1''''''6''''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36E48D-338F-4097-91D0-556E6C4703D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875463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7DEFC4-A2CF-4045-BCA0-9372B3DD2183}" type="datetime'''''''''''''''''20''''''''''''''''''''''''''''1''''''''''9'''">
              <a:rPr lang="en-US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E9474F6-EC0B-425B-9EA6-75051CF8641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261475" y="588962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C871-3FDA-46BE-9290-5229617C681E}" type="datetime'''''''''2''''''''''''''''''''''''''''''''0''2''1'''''">
              <a:rPr lang="en-US" altLang="en-US" sz="1400" smtClean="0"/>
              <a:pPr/>
              <a:t>2021</a:t>
            </a:fld>
            <a:endParaRPr lang="en-US" sz="140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A154379-494E-4734-89D2-5992D0D34B5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601913" y="4713288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30F74C-44DE-4366-AC09-9901CDE64757}" type="datetime'''''''''+''''''''''''''4''''''''''''''''8''''''''5''''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485</a:t>
            </a:fld>
            <a:endParaRPr lang="en-GB" sz="1400" b="1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AAE0FCC-5711-4B2D-8099-067EC412D0D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814763" y="4467225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FF2CB4-04EF-4E51-8FBF-6688DCEF360A}" type="datetime'''''''+''''''''''''38''''''''''''''''''0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380</a:t>
            </a:fld>
            <a:endParaRPr lang="en-GB" sz="1400" b="1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F39639F-8A2D-4155-A41C-F52BA14DDC4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006975" y="4211638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60135C-CBED-4789-9C7F-AA2675A2D6D2}" type="datetime'+''''''3''''''''9''''''''''4''''''''''''''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394</a:t>
            </a:fld>
            <a:endParaRPr lang="en-GB" sz="1400" b="1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E6101ED-100D-4B6A-8DA2-F3321B81720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230938" y="4287838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6C1A5F-BBAB-496E-9489-2B86E44CE979}" type="datetime'-''''''''''''4''''''''''''''''5''''''''''''''''''''''3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-453</a:t>
            </a:fld>
            <a:endParaRPr lang="en-GB" sz="1400" b="1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6FF8EF2-A5BE-4D68-8588-5B5299C52F1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392988" y="4316413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37341D-1A03-4481-B19A-56FCF805DE0E}" type="datetime'''+2''''''''''''''''''''''''''''''''''''9''''''1'''''''''''''">
              <a:rPr lang="en-US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291</a:t>
            </a:fld>
            <a:endParaRPr lang="en-US" sz="1400" b="1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0A9CA739-4907-402B-984F-CB49908024C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636000" y="4392613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B78A2C-2912-4B8B-9969-BFBA296FC125}" type="datetime'''''''''-''3''''7''''0'''''''''''''''''">
              <a:rPr lang="en-US" altLang="en-US" sz="1400" b="1" smtClean="0">
                <a:effectLst/>
              </a:rPr>
              <a:pPr/>
              <a:t>-370</a:t>
            </a:fld>
            <a:endParaRPr lang="en-US" sz="1400" b="1" dirty="0">
              <a:sym typeface="+mn-lt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E9A0431-BF35-46E7-86D1-5EAE1306955C}"/>
              </a:ext>
            </a:extLst>
          </p:cNvPr>
          <p:cNvSpPr txBox="1"/>
          <p:nvPr/>
        </p:nvSpPr>
        <p:spPr>
          <a:xfrm>
            <a:off x="604811" y="4064106"/>
            <a:ext cx="3602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dvikling egenkapital / </a:t>
            </a:r>
            <a:r>
              <a:rPr lang="da-DK" dirty="0" err="1"/>
              <a:t>kDKK</a:t>
            </a:r>
            <a:endParaRPr lang="da-DK" dirty="0"/>
          </a:p>
          <a:p>
            <a:endParaRPr lang="en-GB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694804-DC6A-43CE-9BD9-B104836C0EF3}"/>
              </a:ext>
            </a:extLst>
          </p:cNvPr>
          <p:cNvSpPr>
            <a:spLocks noGrp="1"/>
          </p:cNvSpPr>
          <p:nvPr/>
        </p:nvSpPr>
        <p:spPr bwMode="gray">
          <a:xfrm>
            <a:off x="5899717" y="3247982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50670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05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 dirty="0"/>
              <a:t>Årsregnskabet 2021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1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06482" y="747243"/>
            <a:ext cx="6444980" cy="2681757"/>
          </a:xfrm>
        </p:spPr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Årsregnskabet er revideret og godkendt af Irene Jespersen, udpeget af SGRE-ledelsen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Årsregnskabet er godkendt af Lene </a:t>
            </a:r>
            <a:r>
              <a:rPr lang="da-DK" sz="1600" dirty="0" err="1"/>
              <a:t>Moellgaard</a:t>
            </a:r>
            <a:r>
              <a:rPr lang="da-DK" sz="1600" dirty="0"/>
              <a:t>, der blev udpeget på sidste Generalforsamling af medlemmerne af Møllebanden som kritisk revisor​</a:t>
            </a:r>
            <a:endParaRPr lang="da-DK" sz="8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SPØRGSMÅL?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 dirty="0"/>
              <a:t>Bestyrelsen i Møllebanden anbefaler, at årsrapporten godkendes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 dirty="0"/>
          </a:p>
          <a:p>
            <a:endParaRPr lang="da-DK" sz="1600" dirty="0"/>
          </a:p>
          <a:p>
            <a:endParaRPr lang="en-US" sz="1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8</a:t>
            </a:fld>
            <a:endParaRPr lang="da-DK"/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268C19AF-944F-4775-AE06-14BFF1C4EB4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0098333"/>
              </p:ext>
            </p:extLst>
          </p:nvPr>
        </p:nvGraphicFramePr>
        <p:xfrm>
          <a:off x="5124450" y="4143375"/>
          <a:ext cx="6610350" cy="159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AC7749-6B82-4800-A3D3-8D870FB2659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540375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FB0B74-5FA4-4C8A-B608-407065EDB811}" type="datetime'20''''''''''''''1''''''''6''''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2DB0B3-18A4-4F73-A663-E9D946BD2F6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613525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D97BCF-D0C5-49EB-9CBC-574884CE4B39}" type="datetime'2''''''0''''''1''''''''7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3188A6A-BEE4-43F6-97C4-5E57322E6DF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688263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5338F3-30E3-44E5-8DA7-136A2C02DE4A}" type="datetime'''2''''''''''0''''''''''''''''''''''1''''''''''''''''8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4A7604B-C9E6-4085-B19C-DBC83134F05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763000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A33751-2A7F-4BF4-88C8-69A89105C8DE}" type="datetime'''''''''''''''''''20''''''''''''''19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74F7830-3277-4CAD-98A5-F693E90BB1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836150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7F7F6C-3689-48FD-BD26-5915974B6EE9}" type="datetime'2''''''''''''''''''''0''''''2''''''''''''''''''0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391917A-2AE4-4098-82E0-056E2DBDF03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910888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A62624-8BD5-4AC3-B6DC-95142D4E2F09}" type="datetime'''2''''''''''''''''''''0''''''''''''''''''''''''21'''''''''''">
              <a:rPr lang="en-US" altLang="en-US" sz="1400" b="1" smtClean="0"/>
              <a:pPr/>
              <a:t>2021</a:t>
            </a:fld>
            <a:endParaRPr lang="en-US" sz="1400" b="1" dirty="0">
              <a:sym typeface="+mn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626419E-1770-461C-B169-1A28CE9769C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550025" y="35052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4377C7-E3A0-4F75-9525-93272C2BD57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550275" y="35052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4112AE7-C64B-456E-BD58-BD23AD19912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851650" y="3500438"/>
            <a:ext cx="15970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B6F698F-C7B6-4EE5-B8BC-BE4B266C386C}" type="datetime'Eve''''nt''''''''''''''s o''''g ''ak''t''i''''vite''t''e''r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vents og aktiviteter</a:t>
            </a:fld>
            <a:endParaRPr lang="en-US" sz="140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36FBA345-2F71-49BC-BC6C-0A4F04E7B2D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851900" y="3500438"/>
            <a:ext cx="1162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AC3D3D-7E4D-483E-94F1-27A3CE88ECFD}" type="datetime'''''''''Øv''r''i''''''''''''ge ''''u''d''g''''''''if''te''r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Øvrige udgifter</a:t>
            </a:fld>
            <a:endParaRPr lang="en-US" sz="1400">
              <a:sym typeface="+mn-lt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C76582A-541B-4268-A18B-71CD41EB05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353489"/>
              </p:ext>
            </p:extLst>
          </p:nvPr>
        </p:nvGraphicFramePr>
        <p:xfrm>
          <a:off x="534988" y="1866643"/>
          <a:ext cx="4307600" cy="3810000"/>
        </p:xfrm>
        <a:graphic>
          <a:graphicData uri="http://schemas.openxmlformats.org/drawingml/2006/table">
            <a:tbl>
              <a:tblPr/>
              <a:tblGrid>
                <a:gridCol w="2114906">
                  <a:extLst>
                    <a:ext uri="{9D8B030D-6E8A-4147-A177-3AD203B41FA5}">
                      <a16:colId xmlns:a16="http://schemas.microsoft.com/office/drawing/2014/main" val="4127329534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2196870163"/>
                    </a:ext>
                  </a:extLst>
                </a:gridCol>
                <a:gridCol w="1110343">
                  <a:extLst>
                    <a:ext uri="{9D8B030D-6E8A-4147-A177-3AD203B41FA5}">
                      <a16:colId xmlns:a16="http://schemas.microsoft.com/office/drawing/2014/main" val="2299971993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udget 202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951672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dtæg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1224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onting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SGRE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lsk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kr.     819.000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kr.      752.296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0239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dtægter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819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752.29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46963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3167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dgif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37208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989465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00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782.15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695318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1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83.91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18844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25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00.25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62978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44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13.06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15060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og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byr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0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 42.885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3457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324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122.27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6859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570639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37211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primo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443.41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1.443.41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065871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819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752.29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6780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324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1.122.27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453511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-505.00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-369.98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6114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ultimo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938.41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1.073.435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54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02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 dirty="0"/>
              <a:t>Budget 2022</a:t>
            </a:r>
          </a:p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1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43804" y="745342"/>
            <a:ext cx="6408755" cy="286146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SPØRGSMÅL?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 dirty="0"/>
              <a:t>Bestyrelsen i Møllebanden anbefaler, at budgettet for 2022 godkendes</a:t>
            </a:r>
          </a:p>
          <a:p>
            <a:endParaRPr lang="da-DK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6616699" y="5743326"/>
            <a:ext cx="338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Egenkapitaludvikling</a:t>
            </a:r>
            <a:r>
              <a:rPr lang="en-GB"/>
              <a:t> / </a:t>
            </a:r>
            <a:r>
              <a:rPr lang="en-GB" err="1"/>
              <a:t>kDKK</a:t>
            </a:r>
            <a:endParaRPr lang="en-GB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3F447E8-264A-4068-A581-73D9C5771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815231"/>
              </p:ext>
            </p:extLst>
          </p:nvPr>
        </p:nvGraphicFramePr>
        <p:xfrm>
          <a:off x="555352" y="1743133"/>
          <a:ext cx="4458097" cy="3810000"/>
        </p:xfrm>
        <a:graphic>
          <a:graphicData uri="http://schemas.openxmlformats.org/drawingml/2006/table">
            <a:tbl>
              <a:tblPr/>
              <a:tblGrid>
                <a:gridCol w="2878197">
                  <a:extLst>
                    <a:ext uri="{9D8B030D-6E8A-4147-A177-3AD203B41FA5}">
                      <a16:colId xmlns:a16="http://schemas.microsoft.com/office/drawing/2014/main" val="105530633"/>
                    </a:ext>
                  </a:extLst>
                </a:gridCol>
                <a:gridCol w="1579900">
                  <a:extLst>
                    <a:ext uri="{9D8B030D-6E8A-4147-A177-3AD203B41FA5}">
                      <a16:colId xmlns:a16="http://schemas.microsoft.com/office/drawing/2014/main" val="1185256536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dget 20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71059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68413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gent og SGRE tilsk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596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495766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596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92489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297153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90959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11099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500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518361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15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711514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200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445601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44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727501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 udgifter og gebyr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 20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31347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1.779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47822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35865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86771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primo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073.435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25583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596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330979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1.779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278234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-183.000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454407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ultimo 2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r.     890.435 </a:t>
                      </a:r>
                    </a:p>
                  </a:txBody>
                  <a:tcPr marL="7620" marR="7620" marT="762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5603274"/>
                  </a:ext>
                </a:extLst>
              </a:tr>
            </a:tbl>
          </a:graphicData>
        </a:graphic>
      </p:graphicFrame>
      <p:graphicFrame>
        <p:nvGraphicFramePr>
          <p:cNvPr id="210" name="Chart 209">
            <a:extLst>
              <a:ext uri="{FF2B5EF4-FFF2-40B4-BE49-F238E27FC236}">
                <a16:creationId xmlns:a16="http://schemas.microsoft.com/office/drawing/2014/main" id="{1F9F895A-560D-4311-B0EC-E52F8532BF8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8388968"/>
              </p:ext>
            </p:extLst>
          </p:nvPr>
        </p:nvGraphicFramePr>
        <p:xfrm>
          <a:off x="5364163" y="3302000"/>
          <a:ext cx="5016500" cy="223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032FEFB-C5FB-42FB-BAEA-44B4B7259E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842375" y="3606800"/>
            <a:ext cx="0" cy="188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21908F-59F2-4B5E-8BF9-6817B069FB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42376" y="3606800"/>
            <a:ext cx="969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59E0AE8-F58F-4CC5-9FC4-712F6CEA1C1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812338" y="3606800"/>
            <a:ext cx="0" cy="4238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D8DC933-BD83-4105-A2C4-90E882B5AF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727700" y="55133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A93B17-375C-4A02-B270-0F6B01D80541}" type="datetime'''''''''2''''''''0''''''''''''1''''''''8'''''''''">
              <a:rPr lang="en-US" altLang="en-US" sz="1400" smtClean="0"/>
              <a:pPr/>
              <a:t>2018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25CFCEC0-B110-4174-A12D-60BA5D61B64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639175" y="55133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7FDA40-C178-4D37-A3D7-B4B55534FE47}" type="datetime'2''0''''''''''21'''''''''''''''''''''''''''''''''">
              <a:rPr lang="en-US" altLang="en-US" sz="1400" smtClean="0"/>
              <a:pPr/>
              <a:t>2021</a:t>
            </a:fld>
            <a:endParaRPr 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17F3945-3335-456D-836F-959B7E8B38D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97663" y="55133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B7F81B-073D-48FB-B9CA-71EE2A36445D}" type="datetime'''20''''''1''9'''''''''''''''''''''">
              <a:rPr lang="en-US" altLang="en-US" sz="1400" smtClean="0"/>
              <a:pPr/>
              <a:t>2019</a:t>
            </a:fld>
            <a:endParaRPr lang="en-US" sz="14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13114FD-DCB1-4DA4-A7D1-73E0F6D540A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609138" y="55133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4103BA-76E5-463B-A5BC-ACA11E43FB4D}" type="datetime'''''''''''''''''''''''''''''''2''''''''''''0''2''2'''''">
              <a:rPr lang="en-US" altLang="en-US" sz="1400" smtClean="0"/>
              <a:pPr/>
              <a:t>2022</a:t>
            </a:fld>
            <a:endParaRPr lang="en-US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D4225D-9A52-463F-89E3-923BA9F25DF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69213" y="55133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484D17-F04B-4F43-AD35-A39638A88B31}" type="datetime'''2''''''''''''''''''''''''''0''20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3696484-1079-407D-8807-61547CA1741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84838" y="31464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8E38FD-1C54-4176-9D2B-D743F50B811E}" type="datetime'''''''''''''''''''''1'''''''''',''''''''''''60''''''''6'''''''">
              <a:rPr lang="en-US" altLang="en-US" sz="1400" smtClean="0"/>
              <a:pPr/>
              <a:t>1,606</a:t>
            </a:fld>
            <a:endParaRPr lang="en-US" sz="1400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713D82D2-1066-4FEE-96C3-92967F850F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225088" y="4703764"/>
            <a:ext cx="1379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 err="1"/>
              <a:t>Målsætning</a:t>
            </a:r>
            <a:r>
              <a:rPr lang="en-US" sz="1400" dirty="0"/>
              <a:t> (500)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0E05D6-59AA-47D6-A84B-621B888831E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54800" y="37306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0FFCA4-07DF-48FB-89A9-3151F17791F8}" type="datetime'''''''''''''1,''''1''''''''''''''''''5''3'''''''''''">
              <a:rPr lang="en-US" altLang="en-US" sz="1400" smtClean="0"/>
              <a:pPr/>
              <a:t>1,153</a:t>
            </a:fld>
            <a:endParaRPr lang="en-US" sz="14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9E55F6-06A8-434C-B0E0-D8A9D0616ED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626350" y="335597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1DB492-3CC2-42D9-BA80-B70EC6BDD2F8}" type="datetime'''''''''1'''''''',''''''4''4''''''''''''''3'''''''''''''">
              <a:rPr lang="en-US" altLang="en-US" sz="1400" smtClean="0"/>
              <a:pPr/>
              <a:t>1,443</a:t>
            </a:fld>
            <a:endParaRPr lang="en-US" sz="14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DA7BC9-8807-475C-9621-163B010D237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596313" y="383381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DBCDD6-23DC-4743-B490-B8291AFDE3B7}" type="datetime'''''''''1'''',''''07''''''''''''''''3'''''''''''''''''''''''">
              <a:rPr lang="en-US" altLang="en-US" sz="1400" smtClean="0"/>
              <a:pPr/>
              <a:t>1,073</a:t>
            </a:fld>
            <a:endParaRPr 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ACE6BF3-1590-4A5A-94F5-E5E6F38680B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075738" y="3455988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AA3881-33F7-4199-81A9-70AB5475DDE0}" type="datetime'''''-18''''''''''''''''''''''''''''''''''''''''3'''''''''">
              <a:rPr lang="en-US" altLang="en-US" sz="1400" b="1" smtClean="0">
                <a:effectLst/>
              </a:rPr>
              <a:pPr/>
              <a:t>-183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209066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1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6.30 	Velkomst – </a:t>
            </a:r>
            <a:r>
              <a:rPr lang="da-DK" sz="1600" b="1" i="1" dirty="0"/>
              <a:t>Birgitte Hemdorff Espersen &amp;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56395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4799696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5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Indkomne forsla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E5EB0D-310E-4ED3-A3E2-2E599422A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1412876"/>
            <a:ext cx="8460000" cy="307778"/>
          </a:xfrm>
        </p:spPr>
        <p:txBody>
          <a:bodyPr/>
          <a:lstStyle/>
          <a:p>
            <a:r>
              <a:rPr lang="en-US" dirty="0"/>
              <a:t>Der er et </a:t>
            </a:r>
            <a:r>
              <a:rPr lang="en-US" dirty="0" err="1"/>
              <a:t>forsla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ehandlin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generalforsamlingen</a:t>
            </a:r>
            <a:r>
              <a:rPr lang="en-US" dirty="0"/>
              <a:t>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AD6B42-EDE3-45C3-B2AE-E92DE20B38CB}"/>
              </a:ext>
            </a:extLst>
          </p:cNvPr>
          <p:cNvSpPr txBox="1"/>
          <p:nvPr/>
        </p:nvSpPr>
        <p:spPr>
          <a:xfrm>
            <a:off x="1567774" y="1923847"/>
            <a:ext cx="9056451" cy="3046988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”Forslaget er vedr. betaling for deltagelse fra Møllebandens Venner i events vi arrangerer. Vi vil gerne foreslå at vi er fritaget for betaling til de events som vi arrangerer og som:  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 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da-DK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i ikke selv deltager/har interesse i (fx cirkus da vi ikke selv har små børn og derfor ikke er interesserede i at se cirkus) 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da-DK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i er med til, men bruger dagen/aftenen på at arbejde og ”rende rundt” og hold styr på at alt forløber efter planen (fx juletræsfest som der tidligere har været og som der nok kommer igen engang)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 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Events som vi selv har interesse i/kan deltage i uden at arbejde betaler vi for (fx foredrag, spisning). 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 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a-DK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Rent praktisk kunne vi fx skrive det med ind i event ansøgningen fra event til event og så er det op til bestyrelsen at godkende/afvise om vi skal betale eller ej?</a:t>
            </a:r>
            <a:r>
              <a:rPr lang="en-US" sz="16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”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9002AFF6-EC8E-400F-8784-96799CA8AF46}"/>
              </a:ext>
            </a:extLst>
          </p:cNvPr>
          <p:cNvSpPr txBox="1">
            <a:spLocks/>
          </p:cNvSpPr>
          <p:nvPr/>
        </p:nvSpPr>
        <p:spPr>
          <a:xfrm>
            <a:off x="538161" y="5291235"/>
            <a:ext cx="9140859" cy="647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Bestyrelsen</a:t>
            </a:r>
            <a:r>
              <a:rPr lang="en-US" dirty="0"/>
              <a:t> </a:t>
            </a:r>
            <a:r>
              <a:rPr lang="en-US" dirty="0" err="1"/>
              <a:t>foreslår</a:t>
            </a:r>
            <a:r>
              <a:rPr lang="en-US" dirty="0"/>
              <a:t> at </a:t>
            </a:r>
            <a:r>
              <a:rPr lang="en-US" dirty="0" err="1"/>
              <a:t>afvise</a:t>
            </a:r>
            <a:r>
              <a:rPr lang="en-US" dirty="0"/>
              <a:t> </a:t>
            </a:r>
            <a:r>
              <a:rPr lang="en-US" dirty="0" err="1"/>
              <a:t>forslaget</a:t>
            </a:r>
            <a:r>
              <a:rPr lang="en-US" dirty="0"/>
              <a:t> og </a:t>
            </a:r>
            <a:r>
              <a:rPr lang="en-US" dirty="0" err="1"/>
              <a:t>holde</a:t>
            </a:r>
            <a:r>
              <a:rPr lang="en-US" dirty="0"/>
              <a:t> det </a:t>
            </a:r>
            <a:r>
              <a:rPr lang="en-US" dirty="0" err="1"/>
              <a:t>simpelt</a:t>
            </a:r>
            <a:r>
              <a:rPr lang="en-US" dirty="0"/>
              <a:t>; </a:t>
            </a:r>
            <a:r>
              <a:rPr lang="en-US" dirty="0" err="1"/>
              <a:t>deltager</a:t>
            </a:r>
            <a:r>
              <a:rPr lang="en-US" dirty="0"/>
              <a:t> man </a:t>
            </a:r>
            <a:r>
              <a:rPr lang="en-US" dirty="0" err="1"/>
              <a:t>betaler</a:t>
            </a:r>
            <a:r>
              <a:rPr lang="en-US" dirty="0"/>
              <a:t> man, </a:t>
            </a:r>
            <a:r>
              <a:rPr lang="en-US" dirty="0" err="1"/>
              <a:t>hjælper</a:t>
            </a:r>
            <a:r>
              <a:rPr lang="en-US" dirty="0"/>
              <a:t> man </a:t>
            </a:r>
            <a:r>
              <a:rPr lang="en-US" dirty="0" err="1"/>
              <a:t>kun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med </a:t>
            </a:r>
            <a:r>
              <a:rPr lang="en-US" dirty="0" err="1"/>
              <a:t>oprettelse</a:t>
            </a:r>
            <a:r>
              <a:rPr lang="en-US" dirty="0"/>
              <a:t> og </a:t>
            </a:r>
            <a:r>
              <a:rPr lang="en-US" dirty="0" err="1"/>
              <a:t>billetudlevering</a:t>
            </a:r>
            <a:r>
              <a:rPr lang="en-US" dirty="0"/>
              <a:t>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behøver</a:t>
            </a:r>
            <a:r>
              <a:rPr lang="en-US" dirty="0"/>
              <a:t> man </a:t>
            </a:r>
            <a:r>
              <a:rPr lang="en-US" dirty="0" err="1"/>
              <a:t>ikke</a:t>
            </a:r>
            <a:r>
              <a:rPr lang="en-US" dirty="0"/>
              <a:t> at </a:t>
            </a:r>
            <a:r>
              <a:rPr lang="en-US" dirty="0" err="1"/>
              <a:t>betale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909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45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0840795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3</a:t>
            </a:fld>
            <a:endParaRPr lang="da-DK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7354111" y="1549541"/>
            <a:ext cx="4335662" cy="42780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 dirty="0"/>
              <a:t>BESTYRELSEN BESTÅR AF 9 STEMMEBERETTIGEDE BESTYRELSESMEDLEMMER SAMT 2 SUPPLEANTER</a:t>
            </a:r>
          </a:p>
          <a:p>
            <a:endParaRPr lang="en-GB" sz="1600" dirty="0"/>
          </a:p>
          <a:p>
            <a:r>
              <a:rPr lang="en-GB" sz="1600" dirty="0"/>
              <a:t>BESTYRELSESMEDLEMMER VÆLGES FOR 2 ÅR. SUPPLEANTER VÆLGES FOR 1 ÅR.</a:t>
            </a:r>
          </a:p>
          <a:p>
            <a:endParaRPr lang="en-GB" sz="1600" dirty="0">
              <a:solidFill>
                <a:srgbClr val="FF0000"/>
              </a:solidFill>
            </a:endParaRPr>
          </a:p>
          <a:p>
            <a:r>
              <a:rPr lang="en-GB" sz="1600" dirty="0">
                <a:solidFill>
                  <a:srgbClr val="FF0000"/>
                </a:solidFill>
              </a:rPr>
              <a:t>5 BESTYRELSESPLADSER +</a:t>
            </a:r>
          </a:p>
          <a:p>
            <a:r>
              <a:rPr lang="en-GB" sz="1600" dirty="0">
                <a:solidFill>
                  <a:srgbClr val="FF0000"/>
                </a:solidFill>
              </a:rPr>
              <a:t>2 SUPPLEANTPLADSER SKAL BESÆTTES</a:t>
            </a:r>
          </a:p>
          <a:p>
            <a:endParaRPr lang="en-GB" sz="1600" dirty="0">
              <a:solidFill>
                <a:srgbClr val="FF0000"/>
              </a:solidFill>
            </a:endParaRPr>
          </a:p>
          <a:p>
            <a:r>
              <a:rPr lang="en-GB" sz="1600" dirty="0"/>
              <a:t>DE 5 OPSTILLEDE KANDIDATER MED FLEST STEMMER BLIVER BESTYRELSESMEDLEMMER, DEREFTER BESÆTTES HHV. 1. SUPPLEANT OG 2. SUPPLEANT UD FRA FLEST STEMMER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488FA64-A4FC-4547-943F-86CB8849E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595046"/>
              </p:ext>
            </p:extLst>
          </p:nvPr>
        </p:nvGraphicFramePr>
        <p:xfrm>
          <a:off x="502227" y="1238250"/>
          <a:ext cx="7092000" cy="53236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0000">
                  <a:extLst>
                    <a:ext uri="{9D8B030D-6E8A-4147-A177-3AD203B41FA5}">
                      <a16:colId xmlns:a16="http://schemas.microsoft.com/office/drawing/2014/main" val="1085499574"/>
                    </a:ext>
                  </a:extLst>
                </a:gridCol>
                <a:gridCol w="3312000">
                  <a:extLst>
                    <a:ext uri="{9D8B030D-6E8A-4147-A177-3AD203B41FA5}">
                      <a16:colId xmlns:a16="http://schemas.microsoft.com/office/drawing/2014/main" val="742047880"/>
                    </a:ext>
                  </a:extLst>
                </a:gridCol>
              </a:tblGrid>
              <a:tr h="337704">
                <a:tc>
                  <a:txBody>
                    <a:bodyPr/>
                    <a:lstStyle/>
                    <a:p>
                      <a:r>
                        <a:rPr lang="da-DK" sz="1600" u="sng" dirty="0"/>
                        <a:t>Bestyrelsen 2021</a:t>
                      </a:r>
                      <a:endParaRPr lang="en-US" sz="1600" u="sn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336446"/>
                  </a:ext>
                </a:extLst>
              </a:tr>
              <a:tr h="363155">
                <a:tc>
                  <a:txBody>
                    <a:bodyPr/>
                    <a:lstStyle/>
                    <a:p>
                      <a:r>
                        <a:rPr lang="da-DK" sz="1600"/>
                        <a:t>Birgitte Hemdorff Espersen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926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Henrik Dalgaard Jensen, Næstformand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375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Jan Rene Kolding Wandsoe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Valgt for 2021/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309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Lone Jakobsen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268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Michelle Lynnerup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Valgt for 2021/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135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/>
                        <a:t>Nicolas Le Tallec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828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Vibeke Lund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Valgt for 2021/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786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Tabea </a:t>
                      </a:r>
                      <a:r>
                        <a:rPr lang="da-DK" sz="1600" err="1"/>
                        <a:t>Schadwinkel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Valgt for 2021/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300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 dirty="0"/>
                        <a:t>Taus Wind-Larsen, Forman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998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934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u="sng"/>
                        <a:t>Suppleanter</a:t>
                      </a:r>
                      <a:endParaRPr lang="en-US" sz="1600" u="sn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9750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1600"/>
                        <a:t>Allan Bilberg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 IKK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077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/>
                        <a:t>Thomas Jung Kragsig</a:t>
                      </a:r>
                      <a:endParaRPr lang="en-US" sz="1600"/>
                    </a:p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dirty="0"/>
                        <a:t>GENOPSTILLER IKK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5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349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4">
            <a:extLst>
              <a:ext uri="{FF2B5EF4-FFF2-40B4-BE49-F238E27FC236}">
                <a16:creationId xmlns:a16="http://schemas.microsoft.com/office/drawing/2014/main" id="{5A0118C5-4F8D-4CF4-BADD-53FEACC6C4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2B93D3-EE9A-4219-8740-735537A90D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8907" y="402336"/>
            <a:ext cx="5217172" cy="116913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3700">
                <a:solidFill>
                  <a:schemeClr val="bg1"/>
                </a:solidFill>
              </a:rPr>
              <a:t>Pia Simmelkjær</a:t>
            </a:r>
            <a:br>
              <a:rPr lang="en-US" sz="3700">
                <a:solidFill>
                  <a:schemeClr val="bg1"/>
                </a:solidFill>
              </a:rPr>
            </a:br>
            <a:endParaRPr lang="en-US" sz="3700">
              <a:solidFill>
                <a:schemeClr val="bg1"/>
              </a:solidFill>
            </a:endParaRPr>
          </a:p>
        </p:txBody>
      </p:sp>
      <p:grpSp>
        <p:nvGrpSpPr>
          <p:cNvPr id="37" name="Graphic 38">
            <a:extLst>
              <a:ext uri="{FF2B5EF4-FFF2-40B4-BE49-F238E27FC236}">
                <a16:creationId xmlns:a16="http://schemas.microsoft.com/office/drawing/2014/main" id="{7F54B1E7-DA9D-4422-98EA-A4C079A0C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22669" y="824532"/>
            <a:ext cx="1910252" cy="709660"/>
            <a:chOff x="2267504" y="2540250"/>
            <a:chExt cx="1990951" cy="739640"/>
          </a:xfrm>
          <a:solidFill>
            <a:schemeClr val="bg1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3681A6B-8745-4B5F-9106-8375152B5E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54025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5835 h 286230"/>
                <a:gd name="connsiteX8" fmla="*/ 255835 w 1990951"/>
                <a:gd name="connsiteY8" fmla="*/ 0 h 286230"/>
                <a:gd name="connsiteX9" fmla="*/ 504071 w 1990951"/>
                <a:gd name="connsiteY9" fmla="*/ 245703 h 286230"/>
                <a:gd name="connsiteX10" fmla="*/ 749773 w 1990951"/>
                <a:gd name="connsiteY10" fmla="*/ 0 h 286230"/>
                <a:gd name="connsiteX11" fmla="*/ 995476 w 1990951"/>
                <a:gd name="connsiteY11" fmla="*/ 245703 h 286230"/>
                <a:gd name="connsiteX12" fmla="*/ 1243712 w 1990951"/>
                <a:gd name="connsiteY12" fmla="*/ 0 h 286230"/>
                <a:gd name="connsiteX13" fmla="*/ 1489414 w 1990951"/>
                <a:gd name="connsiteY13" fmla="*/ 245703 h 286230"/>
                <a:gd name="connsiteX14" fmla="*/ 1735117 w 1990951"/>
                <a:gd name="connsiteY14" fmla="*/ 0 h 286230"/>
                <a:gd name="connsiteX15" fmla="*/ 1990952 w 1990951"/>
                <a:gd name="connsiteY15" fmla="*/ 255835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5835"/>
                  </a:lnTo>
                  <a:lnTo>
                    <a:pt x="255835" y="0"/>
                  </a:lnTo>
                  <a:lnTo>
                    <a:pt x="504071" y="245703"/>
                  </a:lnTo>
                  <a:lnTo>
                    <a:pt x="749773" y="0"/>
                  </a:lnTo>
                  <a:lnTo>
                    <a:pt x="995476" y="245703"/>
                  </a:lnTo>
                  <a:lnTo>
                    <a:pt x="1243712" y="0"/>
                  </a:lnTo>
                  <a:lnTo>
                    <a:pt x="1489414" y="245703"/>
                  </a:lnTo>
                  <a:lnTo>
                    <a:pt x="1735117" y="0"/>
                  </a:lnTo>
                  <a:lnTo>
                    <a:pt x="1990952" y="255835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28FA7BA-0A88-455D-9C83-95E77FCE24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99366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8368 h 286230"/>
                <a:gd name="connsiteX8" fmla="*/ 255835 w 1990951"/>
                <a:gd name="connsiteY8" fmla="*/ 0 h 286230"/>
                <a:gd name="connsiteX9" fmla="*/ 504071 w 1990951"/>
                <a:gd name="connsiteY9" fmla="*/ 248236 h 286230"/>
                <a:gd name="connsiteX10" fmla="*/ 749773 w 1990951"/>
                <a:gd name="connsiteY10" fmla="*/ 0 h 286230"/>
                <a:gd name="connsiteX11" fmla="*/ 995476 w 1990951"/>
                <a:gd name="connsiteY11" fmla="*/ 248236 h 286230"/>
                <a:gd name="connsiteX12" fmla="*/ 1243712 w 1990951"/>
                <a:gd name="connsiteY12" fmla="*/ 0 h 286230"/>
                <a:gd name="connsiteX13" fmla="*/ 1489414 w 1990951"/>
                <a:gd name="connsiteY13" fmla="*/ 248236 h 286230"/>
                <a:gd name="connsiteX14" fmla="*/ 1735117 w 1990951"/>
                <a:gd name="connsiteY14" fmla="*/ 0 h 286230"/>
                <a:gd name="connsiteX15" fmla="*/ 1990952 w 1990951"/>
                <a:gd name="connsiteY15" fmla="*/ 258368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8368"/>
                  </a:lnTo>
                  <a:lnTo>
                    <a:pt x="255835" y="0"/>
                  </a:lnTo>
                  <a:lnTo>
                    <a:pt x="504071" y="248236"/>
                  </a:lnTo>
                  <a:lnTo>
                    <a:pt x="749773" y="0"/>
                  </a:lnTo>
                  <a:lnTo>
                    <a:pt x="995476" y="248236"/>
                  </a:lnTo>
                  <a:lnTo>
                    <a:pt x="1243712" y="0"/>
                  </a:lnTo>
                  <a:lnTo>
                    <a:pt x="1489414" y="248236"/>
                  </a:lnTo>
                  <a:lnTo>
                    <a:pt x="1735117" y="0"/>
                  </a:lnTo>
                  <a:lnTo>
                    <a:pt x="1990952" y="258368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CB076D09-E250-47CF-ACB0-3817DBD4F8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8906" y="1751727"/>
            <a:ext cx="5217173" cy="4351338"/>
          </a:xfrm>
        </p:spPr>
        <p:txBody>
          <a:bodyPr vert="horz" lIns="91440" tIns="45720" rIns="91440" bIns="45720" rtlCol="0">
            <a:normAutofit/>
          </a:bodyPr>
          <a:lstStyle/>
          <a:p>
            <a:pPr indent="-228600" algn="l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Ansat i SGRE i 25 år, incl. min elevtid i Bonus Energy.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Været i forskellige afdelinger – sidder pt i Operational Purchasing, Service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Altid været medlem af Møllebanden - alle 25 år…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Lige haft mit første event. (Keramikmaling &amp; Bones)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Håber jeg bliver valgt ind, da jeg gerne vil være med til at gøre en forskel. 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F785A8F-002E-4E7C-A4EE-0423F24488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66045" y="3802078"/>
            <a:ext cx="365021" cy="365021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552F9A4-B078-4FA2-A29A-E70F604511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66045" y="3802078"/>
            <a:ext cx="365021" cy="365021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A160B55-AD6E-430B-B736-C202F24B6171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97" b="-4"/>
          <a:stretch/>
        </p:blipFill>
        <p:spPr bwMode="auto">
          <a:xfrm rot="5400000">
            <a:off x="7572995" y="1820333"/>
            <a:ext cx="3217333" cy="3217333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5" name="Graphic 4">
            <a:extLst>
              <a:ext uri="{FF2B5EF4-FFF2-40B4-BE49-F238E27FC236}">
                <a16:creationId xmlns:a16="http://schemas.microsoft.com/office/drawing/2014/main" id="{E7EEFC47-5A1A-4BC0-9CCE-8E2F1C883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135753" y="4898353"/>
            <a:ext cx="975169" cy="975171"/>
            <a:chOff x="5829300" y="3162300"/>
            <a:chExt cx="532256" cy="532257"/>
          </a:xfrm>
          <a:solidFill>
            <a:schemeClr val="bg1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69E79C8-38A5-45F9-945F-935B056618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9208" y="3192208"/>
              <a:ext cx="112966" cy="112966"/>
            </a:xfrm>
            <a:custGeom>
              <a:avLst/>
              <a:gdLst>
                <a:gd name="connsiteX0" fmla="*/ 112967 w 112966"/>
                <a:gd name="connsiteY0" fmla="*/ 0 h 112966"/>
                <a:gd name="connsiteX1" fmla="*/ 0 w 112966"/>
                <a:gd name="connsiteY1" fmla="*/ 112967 h 112966"/>
                <a:gd name="connsiteX2" fmla="*/ 112967 w 112966"/>
                <a:gd name="connsiteY2" fmla="*/ 0 h 11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66" h="112966">
                  <a:moveTo>
                    <a:pt x="112967" y="0"/>
                  </a:moveTo>
                  <a:lnTo>
                    <a:pt x="0" y="112967"/>
                  </a:lnTo>
                  <a:cubicBezTo>
                    <a:pt x="25356" y="64747"/>
                    <a:pt x="64747" y="25356"/>
                    <a:pt x="1129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23F4A9-D368-45FC-BE17-5AE7B3D2BC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1205" y="3164205"/>
              <a:ext cx="230314" cy="230314"/>
            </a:xfrm>
            <a:custGeom>
              <a:avLst/>
              <a:gdLst>
                <a:gd name="connsiteX0" fmla="*/ 230314 w 230314"/>
                <a:gd name="connsiteY0" fmla="*/ 0 h 230314"/>
                <a:gd name="connsiteX1" fmla="*/ 0 w 230314"/>
                <a:gd name="connsiteY1" fmla="*/ 230314 h 230314"/>
                <a:gd name="connsiteX2" fmla="*/ 3524 w 230314"/>
                <a:gd name="connsiteY2" fmla="*/ 209550 h 230314"/>
                <a:gd name="connsiteX3" fmla="*/ 209550 w 230314"/>
                <a:gd name="connsiteY3" fmla="*/ 3524 h 230314"/>
                <a:gd name="connsiteX4" fmla="*/ 230314 w 230314"/>
                <a:gd name="connsiteY4" fmla="*/ 0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314" h="230314">
                  <a:moveTo>
                    <a:pt x="230314" y="0"/>
                  </a:moveTo>
                  <a:lnTo>
                    <a:pt x="0" y="230314"/>
                  </a:lnTo>
                  <a:cubicBezTo>
                    <a:pt x="953" y="223361"/>
                    <a:pt x="2095" y="216408"/>
                    <a:pt x="3524" y="209550"/>
                  </a:cubicBezTo>
                  <a:lnTo>
                    <a:pt x="209550" y="3524"/>
                  </a:lnTo>
                  <a:cubicBezTo>
                    <a:pt x="216408" y="2095"/>
                    <a:pt x="223361" y="953"/>
                    <a:pt x="23031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0E359B9-2553-4BF7-9253-DD7C6C725D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29300" y="3162300"/>
              <a:ext cx="294131" cy="294131"/>
            </a:xfrm>
            <a:custGeom>
              <a:avLst/>
              <a:gdLst>
                <a:gd name="connsiteX0" fmla="*/ 294132 w 294131"/>
                <a:gd name="connsiteY0" fmla="*/ 1238 h 294131"/>
                <a:gd name="connsiteX1" fmla="*/ 1238 w 294131"/>
                <a:gd name="connsiteY1" fmla="*/ 294132 h 294131"/>
                <a:gd name="connsiteX2" fmla="*/ 0 w 294131"/>
                <a:gd name="connsiteY2" fmla="*/ 278225 h 294131"/>
                <a:gd name="connsiteX3" fmla="*/ 278225 w 294131"/>
                <a:gd name="connsiteY3" fmla="*/ 0 h 294131"/>
                <a:gd name="connsiteX4" fmla="*/ 294132 w 294131"/>
                <a:gd name="connsiteY4" fmla="*/ 1238 h 2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1" h="294131">
                  <a:moveTo>
                    <a:pt x="294132" y="1238"/>
                  </a:moveTo>
                  <a:lnTo>
                    <a:pt x="1238" y="294132"/>
                  </a:lnTo>
                  <a:cubicBezTo>
                    <a:pt x="667" y="288893"/>
                    <a:pt x="0" y="283559"/>
                    <a:pt x="0" y="278225"/>
                  </a:cubicBezTo>
                  <a:lnTo>
                    <a:pt x="278225" y="0"/>
                  </a:lnTo>
                  <a:cubicBezTo>
                    <a:pt x="283559" y="0"/>
                    <a:pt x="288893" y="667"/>
                    <a:pt x="294132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F9101C1-DB2F-4A51-BFCF-E56AA9D7B8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7205" y="3170110"/>
              <a:ext cx="337184" cy="337280"/>
            </a:xfrm>
            <a:custGeom>
              <a:avLst/>
              <a:gdLst>
                <a:gd name="connsiteX0" fmla="*/ 337185 w 337184"/>
                <a:gd name="connsiteY0" fmla="*/ 3905 h 337280"/>
                <a:gd name="connsiteX1" fmla="*/ 3810 w 337184"/>
                <a:gd name="connsiteY1" fmla="*/ 337280 h 337280"/>
                <a:gd name="connsiteX2" fmla="*/ 0 w 337184"/>
                <a:gd name="connsiteY2" fmla="*/ 323850 h 337280"/>
                <a:gd name="connsiteX3" fmla="*/ 323850 w 337184"/>
                <a:gd name="connsiteY3" fmla="*/ 0 h 337280"/>
                <a:gd name="connsiteX4" fmla="*/ 337185 w 337184"/>
                <a:gd name="connsiteY4" fmla="*/ 3905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184" h="337280">
                  <a:moveTo>
                    <a:pt x="337185" y="3905"/>
                  </a:moveTo>
                  <a:lnTo>
                    <a:pt x="3810" y="337280"/>
                  </a:lnTo>
                  <a:cubicBezTo>
                    <a:pt x="2381" y="332899"/>
                    <a:pt x="1143" y="328422"/>
                    <a:pt x="0" y="323850"/>
                  </a:cubicBezTo>
                  <a:lnTo>
                    <a:pt x="323850" y="0"/>
                  </a:lnTo>
                  <a:cubicBezTo>
                    <a:pt x="328327" y="1715"/>
                    <a:pt x="332804" y="2477"/>
                    <a:pt x="337185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6A0E25F-E8AC-43C3-92E1-630040C0EB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3207" y="3186207"/>
              <a:ext cx="364617" cy="364617"/>
            </a:xfrm>
            <a:custGeom>
              <a:avLst/>
              <a:gdLst>
                <a:gd name="connsiteX0" fmla="*/ 364617 w 364617"/>
                <a:gd name="connsiteY0" fmla="*/ 5620 h 364617"/>
                <a:gd name="connsiteX1" fmla="*/ 5620 w 364617"/>
                <a:gd name="connsiteY1" fmla="*/ 364617 h 364617"/>
                <a:gd name="connsiteX2" fmla="*/ 0 w 364617"/>
                <a:gd name="connsiteY2" fmla="*/ 353187 h 364617"/>
                <a:gd name="connsiteX3" fmla="*/ 353187 w 364617"/>
                <a:gd name="connsiteY3" fmla="*/ 0 h 364617"/>
                <a:gd name="connsiteX4" fmla="*/ 364617 w 364617"/>
                <a:gd name="connsiteY4" fmla="*/ 5620 h 36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7" h="364617">
                  <a:moveTo>
                    <a:pt x="364617" y="5620"/>
                  </a:moveTo>
                  <a:lnTo>
                    <a:pt x="5620" y="364617"/>
                  </a:lnTo>
                  <a:cubicBezTo>
                    <a:pt x="3620" y="360902"/>
                    <a:pt x="1715" y="357092"/>
                    <a:pt x="0" y="353187"/>
                  </a:cubicBezTo>
                  <a:lnTo>
                    <a:pt x="353187" y="0"/>
                  </a:lnTo>
                  <a:cubicBezTo>
                    <a:pt x="357092" y="1715"/>
                    <a:pt x="360902" y="3715"/>
                    <a:pt x="364617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FEFC1B0-3611-4239-A35C-0A72C1AA44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75305" y="3208305"/>
              <a:ext cx="380238" cy="380238"/>
            </a:xfrm>
            <a:custGeom>
              <a:avLst/>
              <a:gdLst>
                <a:gd name="connsiteX0" fmla="*/ 380238 w 380238"/>
                <a:gd name="connsiteY0" fmla="*/ 7239 h 380238"/>
                <a:gd name="connsiteX1" fmla="*/ 7239 w 380238"/>
                <a:gd name="connsiteY1" fmla="*/ 380238 h 380238"/>
                <a:gd name="connsiteX2" fmla="*/ 0 w 380238"/>
                <a:gd name="connsiteY2" fmla="*/ 370713 h 380238"/>
                <a:gd name="connsiteX3" fmla="*/ 370237 w 380238"/>
                <a:gd name="connsiteY3" fmla="*/ 0 h 380238"/>
                <a:gd name="connsiteX4" fmla="*/ 380238 w 380238"/>
                <a:gd name="connsiteY4" fmla="*/ 7239 h 38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238" h="380238">
                  <a:moveTo>
                    <a:pt x="380238" y="7239"/>
                  </a:moveTo>
                  <a:lnTo>
                    <a:pt x="7239" y="380238"/>
                  </a:lnTo>
                  <a:cubicBezTo>
                    <a:pt x="4763" y="377000"/>
                    <a:pt x="2381" y="373571"/>
                    <a:pt x="0" y="370713"/>
                  </a:cubicBezTo>
                  <a:lnTo>
                    <a:pt x="370237" y="0"/>
                  </a:lnTo>
                  <a:cubicBezTo>
                    <a:pt x="373571" y="2381"/>
                    <a:pt x="377000" y="4763"/>
                    <a:pt x="380238" y="72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BC7390E-9D9D-4C6A-B8B7-168D94FAFB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02832" y="3235832"/>
              <a:ext cx="385191" cy="385191"/>
            </a:xfrm>
            <a:custGeom>
              <a:avLst/>
              <a:gdLst>
                <a:gd name="connsiteX0" fmla="*/ 380905 w 385191"/>
                <a:gd name="connsiteY0" fmla="*/ 4286 h 385191"/>
                <a:gd name="connsiteX1" fmla="*/ 385191 w 385191"/>
                <a:gd name="connsiteY1" fmla="*/ 8573 h 385191"/>
                <a:gd name="connsiteX2" fmla="*/ 8573 w 385191"/>
                <a:gd name="connsiteY2" fmla="*/ 385191 h 385191"/>
                <a:gd name="connsiteX3" fmla="*/ 4286 w 385191"/>
                <a:gd name="connsiteY3" fmla="*/ 380905 h 385191"/>
                <a:gd name="connsiteX4" fmla="*/ 0 w 385191"/>
                <a:gd name="connsiteY4" fmla="*/ 376523 h 385191"/>
                <a:gd name="connsiteX5" fmla="*/ 376523 w 385191"/>
                <a:gd name="connsiteY5" fmla="*/ 0 h 385191"/>
                <a:gd name="connsiteX6" fmla="*/ 380905 w 385191"/>
                <a:gd name="connsiteY6" fmla="*/ 4286 h 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191" h="385191">
                  <a:moveTo>
                    <a:pt x="380905" y="4286"/>
                  </a:moveTo>
                  <a:lnTo>
                    <a:pt x="385191" y="8573"/>
                  </a:lnTo>
                  <a:lnTo>
                    <a:pt x="8573" y="385191"/>
                  </a:lnTo>
                  <a:lnTo>
                    <a:pt x="4286" y="380905"/>
                  </a:lnTo>
                  <a:cubicBezTo>
                    <a:pt x="2762" y="379476"/>
                    <a:pt x="1334" y="377952"/>
                    <a:pt x="0" y="376523"/>
                  </a:cubicBezTo>
                  <a:lnTo>
                    <a:pt x="376523" y="0"/>
                  </a:lnTo>
                  <a:cubicBezTo>
                    <a:pt x="377952" y="1334"/>
                    <a:pt x="379476" y="2667"/>
                    <a:pt x="380905" y="4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8A0E0EA-1232-409E-BEAC-059E2E0980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35789" y="3268313"/>
              <a:ext cx="379761" cy="380237"/>
            </a:xfrm>
            <a:custGeom>
              <a:avLst/>
              <a:gdLst>
                <a:gd name="connsiteX0" fmla="*/ 372428 w 379761"/>
                <a:gd name="connsiteY0" fmla="*/ 0 h 380237"/>
                <a:gd name="connsiteX1" fmla="*/ 379762 w 379761"/>
                <a:gd name="connsiteY1" fmla="*/ 9525 h 380237"/>
                <a:gd name="connsiteX2" fmla="*/ 9525 w 379761"/>
                <a:gd name="connsiteY2" fmla="*/ 380238 h 380237"/>
                <a:gd name="connsiteX3" fmla="*/ 0 w 379761"/>
                <a:gd name="connsiteY3" fmla="*/ 372904 h 38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761" h="380237">
                  <a:moveTo>
                    <a:pt x="372428" y="0"/>
                  </a:moveTo>
                  <a:cubicBezTo>
                    <a:pt x="374999" y="3239"/>
                    <a:pt x="377381" y="6572"/>
                    <a:pt x="379762" y="9525"/>
                  </a:cubicBezTo>
                  <a:lnTo>
                    <a:pt x="9525" y="380238"/>
                  </a:lnTo>
                  <a:cubicBezTo>
                    <a:pt x="6096" y="377857"/>
                    <a:pt x="2762" y="375476"/>
                    <a:pt x="0" y="372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630765A6-867B-4402-BC11-C0D4345260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72841" y="3305841"/>
              <a:ext cx="364807" cy="364807"/>
            </a:xfrm>
            <a:custGeom>
              <a:avLst/>
              <a:gdLst>
                <a:gd name="connsiteX0" fmla="*/ 359188 w 364807"/>
                <a:gd name="connsiteY0" fmla="*/ 0 h 364807"/>
                <a:gd name="connsiteX1" fmla="*/ 364808 w 364807"/>
                <a:gd name="connsiteY1" fmla="*/ 11621 h 364807"/>
                <a:gd name="connsiteX2" fmla="*/ 11621 w 364807"/>
                <a:gd name="connsiteY2" fmla="*/ 364808 h 364807"/>
                <a:gd name="connsiteX3" fmla="*/ 0 w 364807"/>
                <a:gd name="connsiteY3" fmla="*/ 359188 h 3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807" h="364807">
                  <a:moveTo>
                    <a:pt x="359188" y="0"/>
                  </a:moveTo>
                  <a:cubicBezTo>
                    <a:pt x="361188" y="3905"/>
                    <a:pt x="362998" y="7715"/>
                    <a:pt x="364808" y="11621"/>
                  </a:cubicBezTo>
                  <a:lnTo>
                    <a:pt x="11621" y="364808"/>
                  </a:lnTo>
                  <a:cubicBezTo>
                    <a:pt x="7715" y="362998"/>
                    <a:pt x="3905" y="361188"/>
                    <a:pt x="0" y="3591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F6BB45C-BD66-4CD7-A522-A10F8B077B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16370" y="3349466"/>
              <a:ext cx="337280" cy="337280"/>
            </a:xfrm>
            <a:custGeom>
              <a:avLst/>
              <a:gdLst>
                <a:gd name="connsiteX0" fmla="*/ 333470 w 337280"/>
                <a:gd name="connsiteY0" fmla="*/ 0 h 337280"/>
                <a:gd name="connsiteX1" fmla="*/ 337280 w 337280"/>
                <a:gd name="connsiteY1" fmla="*/ 13430 h 337280"/>
                <a:gd name="connsiteX2" fmla="*/ 13430 w 337280"/>
                <a:gd name="connsiteY2" fmla="*/ 337280 h 337280"/>
                <a:gd name="connsiteX3" fmla="*/ 0 w 337280"/>
                <a:gd name="connsiteY3" fmla="*/ 333470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80" h="337280">
                  <a:moveTo>
                    <a:pt x="333470" y="0"/>
                  </a:moveTo>
                  <a:cubicBezTo>
                    <a:pt x="334899" y="4382"/>
                    <a:pt x="336137" y="8858"/>
                    <a:pt x="337280" y="13430"/>
                  </a:cubicBezTo>
                  <a:lnTo>
                    <a:pt x="13430" y="337280"/>
                  </a:lnTo>
                  <a:cubicBezTo>
                    <a:pt x="8858" y="336137"/>
                    <a:pt x="4382" y="334899"/>
                    <a:pt x="0" y="3334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116CBF8-8641-4F3A-8D12-6EAF96CF39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67329" y="3400425"/>
              <a:ext cx="294227" cy="294132"/>
            </a:xfrm>
            <a:custGeom>
              <a:avLst/>
              <a:gdLst>
                <a:gd name="connsiteX0" fmla="*/ 292989 w 294227"/>
                <a:gd name="connsiteY0" fmla="*/ 0 h 294132"/>
                <a:gd name="connsiteX1" fmla="*/ 294227 w 294227"/>
                <a:gd name="connsiteY1" fmla="*/ 15907 h 294132"/>
                <a:gd name="connsiteX2" fmla="*/ 15907 w 294227"/>
                <a:gd name="connsiteY2" fmla="*/ 294132 h 294132"/>
                <a:gd name="connsiteX3" fmla="*/ 0 w 294227"/>
                <a:gd name="connsiteY3" fmla="*/ 292894 h 29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227" h="294132">
                  <a:moveTo>
                    <a:pt x="292989" y="0"/>
                  </a:moveTo>
                  <a:cubicBezTo>
                    <a:pt x="293561" y="5334"/>
                    <a:pt x="293942" y="10668"/>
                    <a:pt x="294227" y="15907"/>
                  </a:cubicBezTo>
                  <a:lnTo>
                    <a:pt x="15907" y="294132"/>
                  </a:lnTo>
                  <a:cubicBezTo>
                    <a:pt x="10668" y="294132"/>
                    <a:pt x="5334" y="293465"/>
                    <a:pt x="0" y="2928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8FC9AA3-7B63-4082-885D-8FCEE9798A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29337" y="3462337"/>
              <a:ext cx="230314" cy="230314"/>
            </a:xfrm>
            <a:custGeom>
              <a:avLst/>
              <a:gdLst>
                <a:gd name="connsiteX0" fmla="*/ 230315 w 230314"/>
                <a:gd name="connsiteY0" fmla="*/ 0 h 230314"/>
                <a:gd name="connsiteX1" fmla="*/ 226886 w 230314"/>
                <a:gd name="connsiteY1" fmla="*/ 20574 h 230314"/>
                <a:gd name="connsiteX2" fmla="*/ 20669 w 230314"/>
                <a:gd name="connsiteY2" fmla="*/ 226790 h 230314"/>
                <a:gd name="connsiteX3" fmla="*/ 0 w 230314"/>
                <a:gd name="connsiteY3" fmla="*/ 230315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314" h="230314">
                  <a:moveTo>
                    <a:pt x="230315" y="0"/>
                  </a:moveTo>
                  <a:cubicBezTo>
                    <a:pt x="229457" y="6953"/>
                    <a:pt x="228314" y="13716"/>
                    <a:pt x="226886" y="20574"/>
                  </a:cubicBezTo>
                  <a:lnTo>
                    <a:pt x="20669" y="226790"/>
                  </a:lnTo>
                  <a:cubicBezTo>
                    <a:pt x="13811" y="228314"/>
                    <a:pt x="6953" y="229457"/>
                    <a:pt x="0" y="230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48DC3B5-F54E-4473-A0BB-948DEF2ECE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18682" y="3551682"/>
              <a:ext cx="112871" cy="112871"/>
            </a:xfrm>
            <a:custGeom>
              <a:avLst/>
              <a:gdLst>
                <a:gd name="connsiteX0" fmla="*/ 112871 w 112871"/>
                <a:gd name="connsiteY0" fmla="*/ 0 h 112871"/>
                <a:gd name="connsiteX1" fmla="*/ 0 w 112871"/>
                <a:gd name="connsiteY1" fmla="*/ 112871 h 11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871" h="112871">
                  <a:moveTo>
                    <a:pt x="112871" y="0"/>
                  </a:moveTo>
                  <a:cubicBezTo>
                    <a:pt x="87618" y="48239"/>
                    <a:pt x="48239" y="87618"/>
                    <a:pt x="0" y="1128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48162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5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41703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 dirty="0"/>
              <a:t>5 </a:t>
            </a:r>
            <a:r>
              <a:rPr lang="en-GB" sz="1400" dirty="0" err="1"/>
              <a:t>bestyrelsesmedlemmer</a:t>
            </a:r>
            <a:r>
              <a:rPr lang="en-GB" sz="1400" dirty="0"/>
              <a:t> og 2 </a:t>
            </a:r>
            <a:r>
              <a:rPr lang="en-GB" sz="1400" dirty="0" err="1"/>
              <a:t>suppleanter</a:t>
            </a:r>
            <a:r>
              <a:rPr lang="en-GB" sz="1400" dirty="0"/>
              <a:t> </a:t>
            </a:r>
            <a:r>
              <a:rPr lang="en-GB" sz="1400" dirty="0" err="1"/>
              <a:t>skal</a:t>
            </a:r>
            <a:r>
              <a:rPr lang="en-GB" sz="1400" dirty="0"/>
              <a:t> </a:t>
            </a:r>
            <a:r>
              <a:rPr lang="en-GB" sz="1400" dirty="0" err="1"/>
              <a:t>vælges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b="1" dirty="0" err="1"/>
              <a:t>Hvem</a:t>
            </a:r>
            <a:r>
              <a:rPr lang="en-GB" sz="1400" b="1" dirty="0"/>
              <a:t> stiller op?</a:t>
            </a:r>
          </a:p>
          <a:p>
            <a:endParaRPr lang="en-GB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400" dirty="0"/>
              <a:t>Birgitte Hemdorff Espe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Henrik Dalgaard Niel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Lone Jakob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Nicolas Le Tallec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Taus Wind-Lar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Michelle Erasmu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Pia </a:t>
            </a:r>
            <a:r>
              <a:rPr lang="en-GB" sz="1400" dirty="0" err="1"/>
              <a:t>Simmelkjær</a:t>
            </a:r>
            <a:endParaRPr lang="en-GB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Barbara </a:t>
            </a:r>
            <a:r>
              <a:rPr lang="en-GB" sz="1400" dirty="0" err="1"/>
              <a:t>Hanzewniak</a:t>
            </a:r>
            <a:endParaRPr lang="en-GB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D28B04-17F3-4014-8FB5-43BB1E461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98ED41-C3E8-486F-AD21-3935B12EA1D6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 dirty="0"/>
              <a:t>SKRIV OP TIL 5 NAVNE PÅ STEMMESEDLEN!</a:t>
            </a:r>
          </a:p>
        </p:txBody>
      </p:sp>
    </p:spTree>
    <p:extLst>
      <p:ext uri="{BB962C8B-B14F-4D97-AF65-F5344CB8AC3E}">
        <p14:creationId xmlns:p14="http://schemas.microsoft.com/office/powerpoint/2010/main" val="2840838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7.30	Spisning – </a:t>
            </a:r>
            <a:r>
              <a:rPr lang="da-DK" sz="1600" b="1" i="1" dirty="0"/>
              <a:t>Stegt flæsk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45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9832360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12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pisning - pauseskær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83253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20186437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67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Vinder af fotokonkurrencen: Pia Cathrine Clemmensen 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9</a:t>
            </a:fld>
            <a:endParaRPr lang="da-DK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91E5F50-010B-4C4B-A478-AA0E412665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3679" y="1371600"/>
            <a:ext cx="2624641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205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3718351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0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6118088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dirty="0"/>
              <a:t>Valg af revisor 202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1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B6429-EB7C-432F-B4E4-2BABD1841238}"/>
              </a:ext>
            </a:extLst>
          </p:cNvPr>
          <p:cNvSpPr txBox="1"/>
          <p:nvPr/>
        </p:nvSpPr>
        <p:spPr>
          <a:xfrm>
            <a:off x="538162" y="1363528"/>
            <a:ext cx="7924902" cy="1323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 dirty="0"/>
              <a:t>ÅRSREGNSKABET REVIDERES OG GODKENDES HVERT ÅR AF EN AF SGRE UDVALGT REVISOR.</a:t>
            </a:r>
          </a:p>
          <a:p>
            <a:endParaRPr lang="en-GB" sz="1600" dirty="0"/>
          </a:p>
          <a:p>
            <a:r>
              <a:rPr lang="en-GB" sz="1600" dirty="0"/>
              <a:t>SAMTIDIG HAR MEDLEMMERNE MULIGHED FOR AT UDVÆLGE EN KRITISK REVISOR DER GENNEMSER ÅRSREGNSKABET PÅ VEGNE AF MEDLEMMER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5C9BD0-DEBA-441F-9811-E50C4D0B7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3094717"/>
            <a:ext cx="8460000" cy="2782207"/>
          </a:xfrm>
        </p:spPr>
        <p:txBody>
          <a:bodyPr/>
          <a:lstStyle/>
          <a:p>
            <a:r>
              <a:rPr lang="en-US" b="1" i="1" dirty="0" err="1"/>
              <a:t>Wilfrido</a:t>
            </a:r>
            <a:r>
              <a:rPr lang="en-US" b="1" i="1" dirty="0"/>
              <a:t> Valdez Barrera </a:t>
            </a:r>
            <a:r>
              <a:rPr lang="en-US" dirty="0"/>
              <a:t>har </a:t>
            </a:r>
            <a:r>
              <a:rPr lang="en-US" dirty="0" err="1"/>
              <a:t>tilbudt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revisor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årsregnskabet</a:t>
            </a:r>
            <a:r>
              <a:rPr lang="en-US" dirty="0"/>
              <a:t> 2022</a:t>
            </a:r>
          </a:p>
          <a:p>
            <a:endParaRPr lang="en-US" dirty="0"/>
          </a:p>
          <a:p>
            <a:r>
              <a:rPr lang="en-US" b="1" i="1" dirty="0" err="1"/>
              <a:t>Lene</a:t>
            </a:r>
            <a:r>
              <a:rPr lang="en-US" b="1" i="1" dirty="0"/>
              <a:t> </a:t>
            </a:r>
            <a:r>
              <a:rPr lang="en-US" b="1" i="1" dirty="0" err="1"/>
              <a:t>Møllgaard</a:t>
            </a:r>
            <a:r>
              <a:rPr lang="en-US" b="1" i="1" dirty="0"/>
              <a:t> </a:t>
            </a:r>
            <a:r>
              <a:rPr lang="en-US" dirty="0" err="1"/>
              <a:t>tilbyder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at </a:t>
            </a:r>
            <a:r>
              <a:rPr lang="en-US" dirty="0" err="1"/>
              <a:t>være</a:t>
            </a:r>
            <a:r>
              <a:rPr lang="en-US" dirty="0"/>
              <a:t> revisor</a:t>
            </a:r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8460000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  <a:endParaRPr lang="da-DK" sz="1600" i="1" dirty="0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	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18312903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Resultat af val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3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42627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da-DK" dirty="0"/>
              <a:t>Bestyrelsespladser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…</a:t>
            </a:r>
            <a:endParaRPr lang="da-DK" dirty="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>
                <a:cs typeface="Arial"/>
              </a:rPr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>
                <a:cs typeface="Arial"/>
              </a:rPr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dirty="0"/>
          </a:p>
          <a:p>
            <a:pPr>
              <a:spcBef>
                <a:spcPts val="600"/>
              </a:spcBef>
            </a:pPr>
            <a:r>
              <a:rPr lang="da-DK" dirty="0"/>
              <a:t>1. Suppleant</a:t>
            </a:r>
            <a:endParaRPr lang="da-DK" dirty="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/>
              <a:t>…</a:t>
            </a:r>
            <a:endParaRPr lang="da-DK" dirty="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dirty="0"/>
          </a:p>
          <a:p>
            <a:pPr>
              <a:spcBef>
                <a:spcPts val="600"/>
              </a:spcBef>
            </a:pPr>
            <a:r>
              <a:rPr lang="da-DK" dirty="0"/>
              <a:t>2. Suppleant</a:t>
            </a:r>
            <a:endParaRPr lang="da-DK" dirty="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dirty="0">
                <a:cs typeface="Arial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 - Michell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 - Tabea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 – Tabea/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 -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 -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Eventuelt og 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41411184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508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Niels Krøjgaa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5</a:t>
            </a:fld>
            <a:endParaRPr lang="da-DK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280E865-B159-4344-BC65-FF5157CEC0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 descr="Niels Krøjgaard foredrag | Psykologi og manipulation | Athenas">
            <a:extLst>
              <a:ext uri="{FF2B5EF4-FFF2-40B4-BE49-F238E27FC236}">
                <a16:creationId xmlns:a16="http://schemas.microsoft.com/office/drawing/2014/main" id="{E1EC379D-C155-4AF0-ACEB-0FC827D8B7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30C62C-FB27-4018-AE64-147E2B871510}"/>
              </a:ext>
            </a:extLst>
          </p:cNvPr>
          <p:cNvSpPr txBox="1"/>
          <p:nvPr/>
        </p:nvSpPr>
        <p:spPr>
          <a:xfrm>
            <a:off x="538161" y="694167"/>
            <a:ext cx="42770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UNDERHOLDNING VED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NIELS KRØJGAARD</a:t>
            </a:r>
          </a:p>
        </p:txBody>
      </p:sp>
    </p:spTree>
    <p:extLst>
      <p:ext uri="{BB962C8B-B14F-4D97-AF65-F5344CB8AC3E}">
        <p14:creationId xmlns:p14="http://schemas.microsoft.com/office/powerpoint/2010/main" val="21382842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81BED0-980D-41AC-854E-6DE5242C5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993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81BED0-980D-41AC-854E-6DE5242C5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E87B6A6-3620-460F-91AE-700C2028E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1355" y="0"/>
            <a:ext cx="9340645" cy="60452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2FF594-147D-4BBC-9EB2-83F2D0652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Eventuelt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A8F2D-3D41-43EB-9407-356EAAB1F6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08343A-4AC1-4807-8BE4-DDD289B4B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06533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1" y="648000"/>
            <a:ext cx="11653839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Tak for i aften!</a:t>
            </a:r>
            <a:br>
              <a:rPr lang="da-DK"/>
            </a:br>
            <a:br>
              <a:rPr lang="da-DK"/>
            </a:b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59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52461"/>
            <a:ext cx="8460000" cy="307777"/>
          </a:xfrm>
        </p:spPr>
        <p:txBody>
          <a:bodyPr vert="horz"/>
          <a:lstStyle/>
          <a:p>
            <a:r>
              <a:rPr lang="da-DK" dirty="0"/>
              <a:t>Valg af dirigent og valg af stemmetæll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1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dirigent</a:t>
            </a:r>
            <a:endParaRPr lang="en-GB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F7D2C3-2556-4BBF-8804-C88B92AEAF36}"/>
              </a:ext>
            </a:extLst>
          </p:cNvPr>
          <p:cNvSpPr txBox="1"/>
          <p:nvPr/>
        </p:nvSpPr>
        <p:spPr>
          <a:xfrm>
            <a:off x="538162" y="1794439"/>
            <a:ext cx="676731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i="1" dirty="0" err="1"/>
              <a:t>Bestyrelsen</a:t>
            </a:r>
            <a:r>
              <a:rPr lang="en-GB" i="1" dirty="0"/>
              <a:t> </a:t>
            </a:r>
            <a:r>
              <a:rPr lang="en-GB" i="1" dirty="0" err="1"/>
              <a:t>foreslår</a:t>
            </a:r>
            <a:r>
              <a:rPr lang="en-GB" i="1" dirty="0"/>
              <a:t>: </a:t>
            </a:r>
            <a:r>
              <a:rPr lang="en-GB" i="1" strike="sngStrike" dirty="0"/>
              <a:t>Allan Bilberg </a:t>
            </a:r>
            <a:r>
              <a:rPr lang="en-GB" i="1" dirty="0"/>
              <a:t>(</a:t>
            </a:r>
            <a:r>
              <a:rPr lang="en-GB" i="1" dirty="0" err="1"/>
              <a:t>ude</a:t>
            </a:r>
            <a:r>
              <a:rPr lang="en-GB" i="1" dirty="0"/>
              <a:t> med corona)</a:t>
            </a:r>
            <a:endParaRPr lang="en-GB" i="1" dirty="0"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2164759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Andre? Vi </a:t>
            </a:r>
            <a:r>
              <a:rPr lang="en-GB" i="1" dirty="0" err="1"/>
              <a:t>skal</a:t>
            </a:r>
            <a:r>
              <a:rPr lang="en-GB" i="1" dirty="0"/>
              <a:t> have </a:t>
            </a:r>
            <a:r>
              <a:rPr lang="en-GB" i="1" dirty="0" err="1"/>
              <a:t>fundet</a:t>
            </a:r>
            <a:r>
              <a:rPr lang="en-GB" i="1" dirty="0"/>
              <a:t> </a:t>
            </a:r>
            <a:r>
              <a:rPr lang="en-GB" i="1" dirty="0" err="1"/>
              <a:t>en</a:t>
            </a:r>
            <a:r>
              <a:rPr lang="en-GB" i="1" dirty="0"/>
              <a:t> </a:t>
            </a:r>
            <a:r>
              <a:rPr lang="en-GB" i="1" dirty="0" err="1"/>
              <a:t>dirigent</a:t>
            </a:r>
            <a:r>
              <a:rPr lang="en-GB" i="1" dirty="0"/>
              <a:t> </a:t>
            </a:r>
            <a:r>
              <a:rPr lang="en-GB" i="1" dirty="0" err="1"/>
              <a:t>i</a:t>
            </a:r>
            <a:r>
              <a:rPr lang="en-GB" i="1" dirty="0"/>
              <a:t> </a:t>
            </a:r>
            <a:r>
              <a:rPr lang="en-GB" i="1" dirty="0" err="1"/>
              <a:t>salen</a:t>
            </a:r>
            <a:endParaRPr lang="en-GB" i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2 – </a:t>
            </a:r>
            <a:r>
              <a:rPr lang="en-GB" b="1" dirty="0" err="1"/>
              <a:t>Valg</a:t>
            </a:r>
            <a:r>
              <a:rPr lang="en-GB" b="1" dirty="0"/>
              <a:t> </a:t>
            </a:r>
            <a:r>
              <a:rPr lang="en-GB" b="1" dirty="0" err="1"/>
              <a:t>af</a:t>
            </a:r>
            <a:r>
              <a:rPr lang="en-GB" b="1" dirty="0"/>
              <a:t> </a:t>
            </a:r>
            <a:r>
              <a:rPr lang="en-GB" b="1" dirty="0" err="1"/>
              <a:t>stemmetællere</a:t>
            </a:r>
            <a:r>
              <a:rPr lang="en-GB" b="1" dirty="0"/>
              <a:t> (3 </a:t>
            </a:r>
            <a:r>
              <a:rPr lang="en-GB" b="1" dirty="0" err="1"/>
              <a:t>stk</a:t>
            </a:r>
            <a:r>
              <a:rPr lang="en-GB" b="1" dirty="0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Formandens beretning – </a:t>
            </a:r>
            <a:r>
              <a:rPr lang="da-DK" sz="1600" b="1" i="1" dirty="0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Møllebandens Events​ 2021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3839263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1336" y="331789"/>
            <a:ext cx="5118202" cy="215900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Formanden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retning</a:t>
            </a:r>
            <a:r>
              <a:rPr lang="en-US" dirty="0">
                <a:solidFill>
                  <a:schemeClr val="bg1"/>
                </a:solidFill>
              </a:rPr>
              <a:t> for 2021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CE2AEB-7EE8-473F-8D24-FDFEC13E6DB1}"/>
              </a:ext>
            </a:extLst>
          </p:cNvPr>
          <p:cNvSpPr txBox="1"/>
          <p:nvPr/>
        </p:nvSpPr>
        <p:spPr>
          <a:xfrm>
            <a:off x="6800047" y="731382"/>
            <a:ext cx="4981391" cy="32778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/>
              <a:t>Tilbageb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2021…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VID-19</a:t>
            </a:r>
            <a:endParaRPr lang="en-US" dirty="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Ny </a:t>
            </a:r>
            <a:r>
              <a:rPr lang="en-US" dirty="0" err="1"/>
              <a:t>hjemmeside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Nu og </a:t>
            </a:r>
            <a:r>
              <a:rPr lang="en-US" dirty="0" err="1"/>
              <a:t>igennem</a:t>
            </a:r>
            <a:r>
              <a:rPr lang="en-US" dirty="0"/>
              <a:t> 2022…</a:t>
            </a:r>
            <a:endParaRPr lang="en-US" dirty="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Forhåbentlig</a:t>
            </a:r>
            <a:r>
              <a:rPr lang="en-US" dirty="0"/>
              <a:t> back to normal</a:t>
            </a:r>
            <a:endParaRPr lang="en-US" dirty="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6903497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0 	Velkoms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6.35 	Generalforsamling ifølge dagsorden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dirigent​ og valg af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Formandens beretning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</a:t>
            </a:r>
            <a:r>
              <a:rPr lang="da-DK" sz="1600" b="1" dirty="0"/>
              <a:t>Møllebandens Events​ 2021 – </a:t>
            </a:r>
            <a:r>
              <a:rPr lang="da-DK" sz="1600" b="1" i="1" dirty="0"/>
              <a:t>Michelle Lynnerup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 dirty="0"/>
              <a:t>	</a:t>
            </a:r>
            <a:r>
              <a:rPr lang="da-DK" sz="1600" dirty="0"/>
              <a:t>Ny hjemmesid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gnskab &amp; Budge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Indkomne forsla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bestyrelses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7.3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8.30 	Generalforsamling fortsat &amp; optælling af st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Udtrækning af vinder af fotokonkurrenc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Valg af reviso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	Resultat af val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19.00 	Underholdning ved Niels Krøjgaard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dirty="0"/>
              <a:t>Kl. 20.00	Tak for i aften (forventet tidspunkt)</a:t>
            </a:r>
          </a:p>
        </p:txBody>
      </p:sp>
    </p:spTree>
    <p:extLst>
      <p:ext uri="{BB962C8B-B14F-4D97-AF65-F5344CB8AC3E}">
        <p14:creationId xmlns:p14="http://schemas.microsoft.com/office/powerpoint/2010/main" val="2768869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93D8B-2CF1-4A92-9E41-B12516C24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94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93D8B-2CF1-4A92-9E41-B12516C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 vert="horz">
            <a:noAutofit/>
          </a:bodyPr>
          <a:lstStyle/>
          <a:p>
            <a:pPr algn="ctr"/>
            <a:r>
              <a:rPr lang="da-DK" sz="9600" b="1" i="1" dirty="0">
                <a:latin typeface="Comic Sans MS" panose="030F0702030302020204" pitchFamily="66" charset="0"/>
              </a:rPr>
              <a:t>EVENTS 2021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311999" y="1182030"/>
            <a:ext cx="6513674" cy="186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1041FD-AE6C-4A2B-966F-8122E35DA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18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1041FD-AE6C-4A2B-966F-8122E35DA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70F15DE-AA3E-4D6B-9342-CB30FBAE8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300942"/>
            <a:ext cx="10693702" cy="569345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2400" b="1" i="1" dirty="0">
                <a:latin typeface="Comic Sans MS"/>
              </a:rPr>
              <a:t>			</a:t>
            </a:r>
            <a:r>
              <a:rPr lang="da-DK" b="1" i="1" dirty="0">
                <a:latin typeface="Comic Sans MS"/>
              </a:rPr>
              <a:t>GENNEMFØRTE EVENTS 2021     49</a:t>
            </a:r>
            <a:br>
              <a:rPr lang="da-DK" b="1" i="1" dirty="0">
                <a:latin typeface="Comic Sans MS"/>
              </a:rPr>
            </a:br>
            <a:r>
              <a:rPr lang="da-DK" b="1" i="1" dirty="0">
                <a:latin typeface="Comic Sans MS"/>
              </a:rPr>
              <a:t> </a:t>
            </a:r>
            <a:br>
              <a:rPr lang="da-DK" b="1" i="1" dirty="0">
                <a:latin typeface="Comic Sans MS" panose="030F0702030302020204" pitchFamily="66" charset="0"/>
              </a:rPr>
            </a:br>
            <a:br>
              <a:rPr lang="da-DK" b="1" i="1" dirty="0">
                <a:latin typeface="Comic Sans MS"/>
              </a:rPr>
            </a:br>
            <a:br>
              <a:rPr lang="da-DK" sz="2400" b="1" i="1" dirty="0">
                <a:latin typeface="Comic Sans MS"/>
              </a:rPr>
            </a:br>
            <a:r>
              <a:rPr lang="da-DK" sz="2400" b="1" i="1" dirty="0">
                <a:latin typeface="Comic Sans MS"/>
              </a:rPr>
              <a:t>          </a:t>
            </a:r>
            <a:br>
              <a:rPr lang="da-DK" sz="2400" b="1" i="1" dirty="0">
                <a:latin typeface="Comic Sans MS"/>
              </a:rPr>
            </a:br>
            <a:r>
              <a:rPr lang="da-DK" sz="2400" b="1" i="1" dirty="0">
                <a:latin typeface="Comic Sans MS"/>
              </a:rPr>
              <a:t>  </a:t>
            </a:r>
            <a:r>
              <a:rPr lang="da-DK" b="1" i="1" dirty="0">
                <a:latin typeface="Comic Sans MS"/>
              </a:rPr>
              <a:t>gennemførte events 2020       31</a:t>
            </a:r>
            <a:br>
              <a:rPr lang="da-DK" b="1" i="1" dirty="0">
                <a:latin typeface="Comic Sans MS"/>
              </a:rPr>
            </a:br>
            <a:r>
              <a:rPr lang="da-DK" sz="2400" b="1" i="1" dirty="0">
                <a:latin typeface="Comic Sans MS"/>
              </a:rPr>
              <a:t>gennemførte events 2019       131 	</a:t>
            </a:r>
            <a:r>
              <a:rPr lang="da-DK" sz="1600" dirty="0"/>
              <a:t>			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116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PRESENTATIONDONOTDELETE" val="&lt;?xml version=&quot;1.0&quot; encoding=&quot;UTF-16&quot; standalone=&quot;yes&quot;?&gt;&lt;root reqver=&quot;27037&quot;&gt;&lt;version val=&quot;325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YhlgNz1N0fle.2C3_x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CINkVKS5KBV0_6zvMF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vLjN6QQawTftKmnuv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o2YQAuR0SptSTRjMVh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_FruaSgk9vtlNjPtCdD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KFk4FK22Dp4fqYUxiS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4iw9cNTVShMMjZXp.C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s0a5BSUWuT2iGz22X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AJUyEuQR.CxsxEunur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G9.3vTfu36JbeAXFe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CWt2oU0WhlKRJ2Hvw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P4vPVmt2dMxA4yABX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fDoC5yddXP025OGCFc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VHeD5Lsltod14cW3EM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EhUaz2sMupSlpeMZZ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5NQVuPZ5V9Pr3sgV8O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6W8tolKoilKAcJ4VQ26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4Tv1XNAvzJu6FSW.P_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nhppn6NkPJuIAFSbD_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OvHAB5TWyTg5Tkfpi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hzVS5L_Q03MoV5.iL8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Qy7L.1qFrvnQQAEIHVa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fXV5tPiS6oiAYQ0Ckp1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96sSdSuAjmMu7wsBFk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9tsIDSDaHu7ZwkDusvP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u_qJmKl4cL9iGClNiV9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6P36I6ESx2wMByVx98F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r3iGDvDEtA7sKcMi2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JIgM0.hdZwnyfJBDrd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wCUJ3Q1a9Yw1Z..kS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Cv781OiTAQ_woq9Zb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AzBGOMuEcZCSVq0MI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Cvy1HR3mUZkUOxdl9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vmNXqjFglMECDYbq3S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53PC16SrCINaSYAnPvL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6NAh_7SpFbNd7aAE.z_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EvPdeMSJTPuzdTewmk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Y0Vvc3qoQetNwqglY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SR5wBwPBgEH5ufoF9DU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8khbuItUi6RHZy4xHb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yQoLPccJpD2lYR.Hg5Y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IQFq7FWv8zC0onT4n5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VADiPLK2GfBzTZxwV2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nNVHBaBNShw3DQlre1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.k6urlTdaJjpta0c838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BWZpMRMaXw3_ImRcXD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XPYpKTg21wMoU_CLz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oAsN47UTRSN0cNu3y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otXDFBNbvr7KC2d9Cf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bX8cHQQirmwCw06YJz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78dSMCRv6go7qxROnj0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MYi1kyTaymS8w2Yej_e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09LYm.QIS99V3Xtd1_k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HZfU9nM9H86RwoIUeRj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MFTNfEyUKDI_qnvex7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FAVQYB8eoi2out3NZ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XqKa9aYIWY4vz7xMUk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T1Ec4BAn6Vik63UEUe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MWg7YuHol9_.28JWt1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17Ouk5bgn9ZoeIKqUEy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qSydj6xxZcONOjWRM_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qu4sUESlim1Wlwp9cv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lFK7LVylhzTbZpQI1V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vg8.hqScH8rdeCL8o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EpKxjo_VBazk.hEpIE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wqceg5JuC72gQlRw_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CyAkS6AQqCa6oXe2U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zVlMv4BayKT6LfR4O7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7u6_KSeQT61mmJh7Z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HHaMJjT4MmwdK._GYx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gDpX08.2xtd_begOW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pYTmXrlrbfgfgxi1nX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1r271mtHsvrh6VrthT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AmuE8Kachiqqr8b4uvsg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7a09f094-dfef-497e-9e0f-bd9f04c01edb">2022</Year>
    <SharedWithUsers xmlns="bc4357c8-f86f-42d6-9392-2cb66fb1bce7">
      <UserInfo>
        <DisplayName>Rahbek, Lars (SGRE COG P OF PP PCO)</DisplayName>
        <AccountId>28</AccountId>
        <AccountType/>
      </UserInfo>
      <UserInfo>
        <DisplayName>Lausten, Xenia (SGRE OF PPM DD PDM 1)</DisplayName>
        <AccountId>3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5C61FE-258D-4011-833E-02FCE7EB3E5D}"/>
</file>

<file path=customXml/itemProps2.xml><?xml version="1.0" encoding="utf-8"?>
<ds:datastoreItem xmlns:ds="http://schemas.openxmlformats.org/officeDocument/2006/customXml" ds:itemID="{46158988-F4E5-431F-8342-37A38EF70E7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c4357c8-f86f-42d6-9392-2cb66fb1bce7"/>
    <ds:schemaRef ds:uri="http://purl.org/dc/elements/1.1/"/>
    <ds:schemaRef ds:uri="http://schemas.microsoft.com/office/2006/metadata/properties"/>
    <ds:schemaRef ds:uri="7a09f094-dfef-497e-9e0f-bd9f04c01ed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TotalTime>0</TotalTime>
  <Words>5596</Words>
  <Application>Microsoft Office PowerPoint</Application>
  <PresentationFormat>Widescreen</PresentationFormat>
  <Paragraphs>904</Paragraphs>
  <Slides>37</Slides>
  <Notes>28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7</vt:i4>
      </vt:variant>
    </vt:vector>
  </HeadingPairs>
  <TitlesOfParts>
    <vt:vector size="40" baseType="lpstr">
      <vt:lpstr>160817_SG_Presentation_LegalName</vt:lpstr>
      <vt:lpstr>Slice</vt:lpstr>
      <vt:lpstr>Office Theme</vt:lpstr>
      <vt:lpstr>Generalforsamling 2022</vt:lpstr>
      <vt:lpstr>Agenda</vt:lpstr>
      <vt:lpstr>Agenda</vt:lpstr>
      <vt:lpstr>Valg af dirigent og valg af stemmetællere</vt:lpstr>
      <vt:lpstr>Agenda</vt:lpstr>
      <vt:lpstr>PowerPoint Presentation</vt:lpstr>
      <vt:lpstr>Agenda</vt:lpstr>
      <vt:lpstr>EVENTS 2021</vt:lpstr>
      <vt:lpstr>   GENNEMFØRTE EVENTS 2021     49                  gennemførte events 2020       31 gennemførte events 2019       131      </vt:lpstr>
      <vt:lpstr>2020 IALT 1.271 DELTAGERE </vt:lpstr>
      <vt:lpstr>  oNLINE                          9    (Blomster, gin, yoga, ost, bingo, øl, coctails)   AFLYST                          8 (ski, comedy, golf, koncert, tennis, mode, beton) Teater                          2 Coctail/vin smagning     3 koncert                        3 Golf                            4 motion                        9 (yoga, fodbold, mtb, padel tennis, aqua o.s.v.) spise                           5 mode                           1 biler                           1 bio                             3 weekendtur                  1 escape room                 2 djurs sommerland         1 keramikmaling              1 bryg selv øl                 1 chokolade                   2 tivoli m. show             1 jagt                           1 gl. By århus                 1     </vt:lpstr>
      <vt:lpstr>EVENTMAKERaften </vt:lpstr>
      <vt:lpstr>PowerPoint Presentation</vt:lpstr>
      <vt:lpstr>Agenda</vt:lpstr>
      <vt:lpstr>Teaser på ny Møllebanden hjemmeside</vt:lpstr>
      <vt:lpstr>Agenda</vt:lpstr>
      <vt:lpstr>Regnskab &amp; Budget</vt:lpstr>
      <vt:lpstr>Regnskab &amp; Budget</vt:lpstr>
      <vt:lpstr>Regnskab &amp; Budget</vt:lpstr>
      <vt:lpstr>Agenda</vt:lpstr>
      <vt:lpstr>Indkomne forslag</vt:lpstr>
      <vt:lpstr>Agenda</vt:lpstr>
      <vt:lpstr>Valg af bestyrelsesmedlemmer​</vt:lpstr>
      <vt:lpstr>Pia Simmelkjær </vt:lpstr>
      <vt:lpstr>Valg af bestyrelsesmedlemmer​</vt:lpstr>
      <vt:lpstr>Agenda</vt:lpstr>
      <vt:lpstr>Spisning - pauseskærm</vt:lpstr>
      <vt:lpstr>Agenda</vt:lpstr>
      <vt:lpstr>Vinder af fotokonkurrencen: Pia Cathrine Clemmensen </vt:lpstr>
      <vt:lpstr>Agenda</vt:lpstr>
      <vt:lpstr>Valg af revisor 2022</vt:lpstr>
      <vt:lpstr>Agenda</vt:lpstr>
      <vt:lpstr>Resultat af valg</vt:lpstr>
      <vt:lpstr>Agenda</vt:lpstr>
      <vt:lpstr>Niels Krøjgaard</vt:lpstr>
      <vt:lpstr>Eventuelt</vt:lpstr>
      <vt:lpstr>Tak for i aften!  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lastModifiedBy>Wind-Larsen, Taus (SGRE OF TE NAC TD SYC)</cp:lastModifiedBy>
  <cp:revision>288</cp:revision>
  <cp:lastPrinted>2022-02-23T08:40:59Z</cp:lastPrinted>
  <dcterms:created xsi:type="dcterms:W3CDTF">2017-09-08T14:42:31Z</dcterms:created>
  <dcterms:modified xsi:type="dcterms:W3CDTF">2023-02-22T22:2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ContentTypeId">
    <vt:lpwstr>0x010100E26FB1D8A736374FA50B06C999FEE8C3</vt:lpwstr>
  </property>
  <property fmtid="{D5CDD505-2E9C-101B-9397-08002B2CF9AE}" pid="11" name="MSIP_Label_6013f521-439d-4e48-8e98-41ab6c596aa7_Enabled">
    <vt:lpwstr>true</vt:lpwstr>
  </property>
  <property fmtid="{D5CDD505-2E9C-101B-9397-08002B2CF9AE}" pid="12" name="MSIP_Label_6013f521-439d-4e48-8e98-41ab6c596aa7_SetDate">
    <vt:lpwstr>2021-02-17T15:00:17Z</vt:lpwstr>
  </property>
  <property fmtid="{D5CDD505-2E9C-101B-9397-08002B2CF9AE}" pid="13" name="MSIP_Label_6013f521-439d-4e48-8e98-41ab6c596aa7_Method">
    <vt:lpwstr>Standard</vt:lpwstr>
  </property>
  <property fmtid="{D5CDD505-2E9C-101B-9397-08002B2CF9AE}" pid="14" name="MSIP_Label_6013f521-439d-4e48-8e98-41ab6c596aa7_Name">
    <vt:lpwstr>6013f521-439d-4e48-8e98-41ab6c596aa7</vt:lpwstr>
  </property>
  <property fmtid="{D5CDD505-2E9C-101B-9397-08002B2CF9AE}" pid="15" name="MSIP_Label_6013f521-439d-4e48-8e98-41ab6c596aa7_SiteId">
    <vt:lpwstr>12f921d8-f30d-4596-a652-7045b338485a</vt:lpwstr>
  </property>
  <property fmtid="{D5CDD505-2E9C-101B-9397-08002B2CF9AE}" pid="16" name="MSIP_Label_6013f521-439d-4e48-8e98-41ab6c596aa7_ActionId">
    <vt:lpwstr/>
  </property>
  <property fmtid="{D5CDD505-2E9C-101B-9397-08002B2CF9AE}" pid="17" name="MSIP_Label_6013f521-439d-4e48-8e98-41ab6c596aa7_ContentBits">
    <vt:lpwstr>0</vt:lpwstr>
  </property>
</Properties>
</file>